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3"/>
  </p:sldMasterIdLst>
  <p:notesMasterIdLst>
    <p:notesMasterId r:id="rId5"/>
  </p:notesMasterIdLst>
  <p:handoutMasterIdLst>
    <p:handoutMasterId r:id="rId29"/>
  </p:handoutMasterIdLst>
  <p:sldIdLst>
    <p:sldId id="256" r:id="rId4"/>
    <p:sldId id="425" r:id="rId6"/>
    <p:sldId id="426" r:id="rId7"/>
    <p:sldId id="427" r:id="rId8"/>
    <p:sldId id="316" r:id="rId9"/>
    <p:sldId id="322" r:id="rId10"/>
    <p:sldId id="375" r:id="rId11"/>
    <p:sldId id="376" r:id="rId12"/>
    <p:sldId id="377" r:id="rId13"/>
    <p:sldId id="378" r:id="rId14"/>
    <p:sldId id="428" r:id="rId15"/>
    <p:sldId id="379" r:id="rId16"/>
    <p:sldId id="380" r:id="rId17"/>
    <p:sldId id="387" r:id="rId18"/>
    <p:sldId id="405" r:id="rId19"/>
    <p:sldId id="381" r:id="rId20"/>
    <p:sldId id="417" r:id="rId21"/>
    <p:sldId id="383" r:id="rId22"/>
    <p:sldId id="382" r:id="rId23"/>
    <p:sldId id="384" r:id="rId24"/>
    <p:sldId id="418" r:id="rId25"/>
    <p:sldId id="411" r:id="rId26"/>
    <p:sldId id="416" r:id="rId27"/>
    <p:sldId id="261" r:id="rId2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7623"/>
    <a:srgbClr val="F70416"/>
    <a:srgbClr val="111CFF"/>
    <a:srgbClr val="F58DF7"/>
    <a:srgbClr val="300EAE"/>
    <a:srgbClr val="0433A9"/>
    <a:srgbClr val="6F96A7"/>
    <a:srgbClr val="FFC000"/>
    <a:srgbClr val="FAA226"/>
    <a:srgbClr val="FCCC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48" autoAdjust="0"/>
    <p:restoredTop sz="95728" autoAdjust="0"/>
  </p:normalViewPr>
  <p:slideViewPr>
    <p:cSldViewPr snapToGrid="0">
      <p:cViewPr varScale="1">
        <p:scale>
          <a:sx n="78" d="100"/>
          <a:sy n="78" d="100"/>
        </p:scale>
        <p:origin x="552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38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2" Type="http://schemas.openxmlformats.org/officeDocument/2006/relationships/tableStyles" Target="tableStyles.xml"/><Relationship Id="rId31" Type="http://schemas.openxmlformats.org/officeDocument/2006/relationships/viewProps" Target="viewProps.xml"/><Relationship Id="rId30" Type="http://schemas.openxmlformats.org/officeDocument/2006/relationships/presProps" Target="presProps.xml"/><Relationship Id="rId3" Type="http://schemas.openxmlformats.org/officeDocument/2006/relationships/slideMaster" Target="slideMasters/slideMaster2.xml"/><Relationship Id="rId29" Type="http://schemas.openxmlformats.org/officeDocument/2006/relationships/handoutMaster" Target="handoutMasters/handoutMaster1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性能优化需要厚实的基础知识：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操作系统——操作系统管理着应用程序所需要的所有资源，例如CPU和IO，当任何一个组件出现问题，我们的分析也是基于操作系统的，例如文件系统类型，磁盘类型，磁盘raid类型都需要操作系统管理和支持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系统编程技术——系统编程技术涉及到我们如何使用系统资源，例如对IO的操作我们可以使用buffering I/O，也可以使用Direct IO，可以采用同步的方式，也可以采用异步的方式，可以使用多进程，也可以使用多线程的方式。懂得不同编程技术的原理，有利于问题的分析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应用程序——例如数据库组件的数据类型、引擎、索引、复制、配置参数、备份、高可用等等都可能是性能问题的元凶。</a:t>
            </a:r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性能优化需要厚实的基础知识：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操作系统——操作系统管理着应用程序所需要的所有资源，例如CPU和IO，当任何一个组件出现问题，我们的分析也是基于操作系统的，例如文件系统类型，磁盘类型，磁盘raid类型都需要操作系统管理和支持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系统编程技术——系统编程技术涉及到我们如何使用系统资源，例如对IO的操作我们可以使用buffering I/O，也可以使用Direct IO，可以采用同步的方式，也可以采用异步的方式，可以使用多进程，也可以使用多线程的方式。懂得不同编程技术的原理，有利于问题的分析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应用程序——例如数据库组件的数据类型、引擎、索引、复制、配置参数、备份、高可用等等都可能是性能问题的元凶。</a:t>
            </a:r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，我们来看一下大名鼎鼎的「性能工具(Linux Performance Tools-full)图」，想必很多工程师都知道，它出自系统性能专家 Brendan Gregg。该图从 Linux 内核的各个子系统出发，列出了我们在对各个子系统进行性能分析时，可使用的工具，涵盖了监测、分析、调优等性能优化的方方面面。除了这张全景图之外，Brendan Gregg 还单独提供了基准测试工具(Linux Performance Benchmark Tools)图、性能监测工具(Linux Performance Observability Tools)图等，更详细的内容请参考 Brendan Gregg 的网站说明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　　</a:t>
            </a:r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缺页异常被触发通常有两种情况，第一种是因为访问非法地址，这种情况属于不正常的缺页，内核会做安全处理。我们考虑的是第二种情况，访问的地址是合法的，但是该地址还未分配物理页框，这种情况是虚拟内存管理的一个特性，属于正常的缺页，它的处理过程如图所示。因为在用户态，进程申请的内存都是虚拟内存，此时并没有对应的物理页框，也就是要访问的数据不在内存中。当</a:t>
            </a:r>
            <a:r>
              <a:rPr lang="en-US" altLang="zh-CN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</a:t>
            </a:r>
            <a:r>
              <a:rPr lang="zh-CN" alt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访问这个虚拟地址的数据时，即</a:t>
            </a:r>
            <a:r>
              <a:rPr lang="en-US" altLang="zh-CN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ad</a:t>
            </a:r>
            <a:r>
              <a:rPr lang="en-US" altLang="zh-CN" sz="1200" b="0" i="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</a:t>
            </a:r>
            <a:r>
              <a:rPr lang="zh-CN" altLang="en-US" sz="1200" b="0" i="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时</a:t>
            </a:r>
            <a:r>
              <a:rPr lang="zh-CN" alt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就会触发缺页异常。触发缺页异常的指令会停止执行，然后进入内核的缺页异常处理程序。如果需要从外存中换入页，就会在外存中读取相应页，然后修改页表项，重新执行之前因为缺页而中断的指令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64EC1F-4C1A-4575-A29E-535B091AA91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8161998" y="-667399"/>
            <a:ext cx="4791131" cy="5788739"/>
            <a:chOff x="8161998" y="-667399"/>
            <a:chExt cx="4791131" cy="5788739"/>
          </a:xfrm>
        </p:grpSpPr>
        <p:sp>
          <p:nvSpPr>
            <p:cNvPr id="8" name="ïṣḻiďe"/>
            <p:cNvSpPr/>
            <p:nvPr/>
          </p:nvSpPr>
          <p:spPr>
            <a:xfrm>
              <a:off x="10522824" y="-667399"/>
              <a:ext cx="1249892" cy="1234657"/>
            </a:xfrm>
            <a:custGeom>
              <a:avLst/>
              <a:gdLst>
                <a:gd name="connsiteX0" fmla="*/ 1249893 w 1249892"/>
                <a:gd name="connsiteY0" fmla="*/ 1234658 h 1234657"/>
                <a:gd name="connsiteX1" fmla="*/ 833262 w 1249892"/>
                <a:gd name="connsiteY1" fmla="*/ 0 h 1234657"/>
                <a:gd name="connsiteX2" fmla="*/ 0 w 1249892"/>
                <a:gd name="connsiteY2" fmla="*/ 870585 h 123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892" h="1234657">
                  <a:moveTo>
                    <a:pt x="1249893" y="1234658"/>
                  </a:moveTo>
                  <a:lnTo>
                    <a:pt x="833262" y="0"/>
                  </a:lnTo>
                  <a:lnTo>
                    <a:pt x="0" y="87058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îṥ1ïḑé"/>
            <p:cNvSpPr/>
            <p:nvPr/>
          </p:nvSpPr>
          <p:spPr>
            <a:xfrm>
              <a:off x="11633819" y="139886"/>
              <a:ext cx="1319310" cy="1614626"/>
            </a:xfrm>
            <a:custGeom>
              <a:avLst/>
              <a:gdLst>
                <a:gd name="connsiteX0" fmla="*/ 1319311 w 1319310"/>
                <a:gd name="connsiteY0" fmla="*/ 1614627 h 1614626"/>
                <a:gd name="connsiteX1" fmla="*/ 555529 w 1319310"/>
                <a:gd name="connsiteY1" fmla="*/ 0 h 1614626"/>
                <a:gd name="connsiteX2" fmla="*/ 0 w 1319310"/>
                <a:gd name="connsiteY2" fmla="*/ 1519648 h 161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9310" h="1614626">
                  <a:moveTo>
                    <a:pt x="1319311" y="1614627"/>
                  </a:moveTo>
                  <a:lnTo>
                    <a:pt x="555529" y="0"/>
                  </a:lnTo>
                  <a:lnTo>
                    <a:pt x="0" y="1519648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ṥļîdê"/>
            <p:cNvSpPr/>
            <p:nvPr/>
          </p:nvSpPr>
          <p:spPr>
            <a:xfrm>
              <a:off x="10158303" y="472337"/>
              <a:ext cx="1232523" cy="759767"/>
            </a:xfrm>
            <a:custGeom>
              <a:avLst/>
              <a:gdLst>
                <a:gd name="connsiteX0" fmla="*/ 1232523 w 1232523"/>
                <a:gd name="connsiteY0" fmla="*/ 759768 h 759767"/>
                <a:gd name="connsiteX1" fmla="*/ 833262 w 1232523"/>
                <a:gd name="connsiteY1" fmla="*/ 0 h 759767"/>
                <a:gd name="connsiteX2" fmla="*/ 0 w 1232523"/>
                <a:gd name="connsiteY2" fmla="*/ 395695 h 75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2523" h="759767">
                  <a:moveTo>
                    <a:pt x="1232523" y="759768"/>
                  </a:moveTo>
                  <a:lnTo>
                    <a:pt x="833262" y="0"/>
                  </a:lnTo>
                  <a:lnTo>
                    <a:pt x="0" y="3956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Sľiḑe"/>
            <p:cNvSpPr/>
            <p:nvPr/>
          </p:nvSpPr>
          <p:spPr>
            <a:xfrm>
              <a:off x="9515986" y="1184644"/>
              <a:ext cx="833261" cy="728146"/>
            </a:xfrm>
            <a:custGeom>
              <a:avLst/>
              <a:gdLst>
                <a:gd name="connsiteX0" fmla="*/ 833262 w 833261"/>
                <a:gd name="connsiteY0" fmla="*/ 728146 h 728146"/>
                <a:gd name="connsiteX1" fmla="*/ 642317 w 833261"/>
                <a:gd name="connsiteY1" fmla="*/ 0 h 728146"/>
                <a:gd name="connsiteX2" fmla="*/ 0 w 833261"/>
                <a:gd name="connsiteY2" fmla="*/ 269095 h 7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61" h="728146">
                  <a:moveTo>
                    <a:pt x="833262" y="728146"/>
                  </a:moveTo>
                  <a:lnTo>
                    <a:pt x="642317" y="0"/>
                  </a:lnTo>
                  <a:lnTo>
                    <a:pt x="0" y="269095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iŝḻiḑê"/>
            <p:cNvSpPr/>
            <p:nvPr/>
          </p:nvSpPr>
          <p:spPr>
            <a:xfrm>
              <a:off x="9429199" y="994688"/>
              <a:ext cx="190945" cy="316555"/>
            </a:xfrm>
            <a:custGeom>
              <a:avLst/>
              <a:gdLst>
                <a:gd name="connsiteX0" fmla="*/ 190946 w 190945"/>
                <a:gd name="connsiteY0" fmla="*/ 0 h 316555"/>
                <a:gd name="connsiteX1" fmla="*/ 17370 w 190945"/>
                <a:gd name="connsiteY1" fmla="*/ 316556 h 316555"/>
                <a:gd name="connsiteX2" fmla="*/ 0 w 190945"/>
                <a:gd name="connsiteY2" fmla="*/ 31622 h 31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945" h="316555">
                  <a:moveTo>
                    <a:pt x="190946" y="0"/>
                  </a:moveTo>
                  <a:lnTo>
                    <a:pt x="17370" y="316556"/>
                  </a:lnTo>
                  <a:lnTo>
                    <a:pt x="0" y="3162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ïsľídê"/>
            <p:cNvSpPr/>
            <p:nvPr/>
          </p:nvSpPr>
          <p:spPr>
            <a:xfrm>
              <a:off x="11512353" y="1817812"/>
              <a:ext cx="251709" cy="324503"/>
            </a:xfrm>
            <a:custGeom>
              <a:avLst/>
              <a:gdLst>
                <a:gd name="connsiteX0" fmla="*/ 251709 w 251709"/>
                <a:gd name="connsiteY0" fmla="*/ 79139 h 324503"/>
                <a:gd name="connsiteX1" fmla="*/ 173576 w 251709"/>
                <a:gd name="connsiteY1" fmla="*/ 324504 h 324503"/>
                <a:gd name="connsiteX2" fmla="*/ 0 w 251709"/>
                <a:gd name="connsiteY2" fmla="*/ 0 h 32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324503">
                  <a:moveTo>
                    <a:pt x="251709" y="79139"/>
                  </a:moveTo>
                  <a:lnTo>
                    <a:pt x="173576" y="3245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iṩľíďè"/>
            <p:cNvSpPr/>
            <p:nvPr/>
          </p:nvSpPr>
          <p:spPr>
            <a:xfrm>
              <a:off x="10193043" y="211133"/>
              <a:ext cx="277733" cy="332394"/>
            </a:xfrm>
            <a:custGeom>
              <a:avLst/>
              <a:gdLst>
                <a:gd name="connsiteX0" fmla="*/ 277733 w 277733"/>
                <a:gd name="connsiteY0" fmla="*/ 126600 h 332394"/>
                <a:gd name="connsiteX1" fmla="*/ 0 w 277733"/>
                <a:gd name="connsiteY1" fmla="*/ 0 h 332394"/>
                <a:gd name="connsiteX2" fmla="*/ 156206 w 277733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7733" h="332394">
                  <a:moveTo>
                    <a:pt x="277733" y="126600"/>
                  </a:moveTo>
                  <a:lnTo>
                    <a:pt x="0" y="0"/>
                  </a:lnTo>
                  <a:lnTo>
                    <a:pt x="156206" y="332395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î$1ïďê"/>
            <p:cNvSpPr/>
            <p:nvPr/>
          </p:nvSpPr>
          <p:spPr>
            <a:xfrm>
              <a:off x="8804314" y="329842"/>
              <a:ext cx="1197783" cy="799393"/>
            </a:xfrm>
            <a:custGeom>
              <a:avLst/>
              <a:gdLst>
                <a:gd name="connsiteX0" fmla="*/ 1197783 w 1197783"/>
                <a:gd name="connsiteY0" fmla="*/ 150387 h 799393"/>
                <a:gd name="connsiteX1" fmla="*/ 0 w 1197783"/>
                <a:gd name="connsiteY1" fmla="*/ 799394 h 799393"/>
                <a:gd name="connsiteX2" fmla="*/ 312411 w 1197783"/>
                <a:gd name="connsiteY2" fmla="*/ 0 h 79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783" h="799393">
                  <a:moveTo>
                    <a:pt x="1197783" y="150387"/>
                  </a:moveTo>
                  <a:lnTo>
                    <a:pt x="0" y="799394"/>
                  </a:lnTo>
                  <a:lnTo>
                    <a:pt x="312411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îṣļíḋe"/>
            <p:cNvSpPr/>
            <p:nvPr/>
          </p:nvSpPr>
          <p:spPr>
            <a:xfrm>
              <a:off x="9056023" y="-532851"/>
              <a:ext cx="1119649" cy="791445"/>
            </a:xfrm>
            <a:custGeom>
              <a:avLst/>
              <a:gdLst>
                <a:gd name="connsiteX0" fmla="*/ 1119649 w 1119649"/>
                <a:gd name="connsiteY0" fmla="*/ 379912 h 791445"/>
                <a:gd name="connsiteX1" fmla="*/ 459963 w 1119649"/>
                <a:gd name="connsiteY1" fmla="*/ 791446 h 791445"/>
                <a:gd name="connsiteX2" fmla="*/ 0 w 1119649"/>
                <a:gd name="connsiteY2" fmla="*/ 0 h 79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649" h="791445">
                  <a:moveTo>
                    <a:pt x="1119649" y="379912"/>
                  </a:moveTo>
                  <a:lnTo>
                    <a:pt x="459963" y="79144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ŝ1îdè"/>
            <p:cNvSpPr/>
            <p:nvPr/>
          </p:nvSpPr>
          <p:spPr>
            <a:xfrm>
              <a:off x="8161998" y="-34230"/>
              <a:ext cx="616230" cy="933941"/>
            </a:xfrm>
            <a:custGeom>
              <a:avLst/>
              <a:gdLst>
                <a:gd name="connsiteX0" fmla="*/ 616231 w 616230"/>
                <a:gd name="connsiteY0" fmla="*/ 522351 h 933941"/>
                <a:gd name="connsiteX1" fmla="*/ 303757 w 616230"/>
                <a:gd name="connsiteY1" fmla="*/ 0 h 933941"/>
                <a:gd name="connsiteX2" fmla="*/ 0 w 616230"/>
                <a:gd name="connsiteY2" fmla="*/ 933941 h 933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6230" h="933941">
                  <a:moveTo>
                    <a:pt x="616231" y="522351"/>
                  </a:moveTo>
                  <a:lnTo>
                    <a:pt x="303757" y="0"/>
                  </a:lnTo>
                  <a:lnTo>
                    <a:pt x="0" y="93394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ṩḻíďè"/>
            <p:cNvSpPr/>
            <p:nvPr/>
          </p:nvSpPr>
          <p:spPr>
            <a:xfrm>
              <a:off x="8691440" y="37016"/>
              <a:ext cx="251709" cy="221577"/>
            </a:xfrm>
            <a:custGeom>
              <a:avLst/>
              <a:gdLst>
                <a:gd name="connsiteX0" fmla="*/ 251709 w 251709"/>
                <a:gd name="connsiteY0" fmla="*/ 47461 h 221577"/>
                <a:gd name="connsiteX1" fmla="*/ 190946 w 251709"/>
                <a:gd name="connsiteY1" fmla="*/ 221578 h 221577"/>
                <a:gd name="connsiteX2" fmla="*/ 0 w 251709"/>
                <a:gd name="connsiteY2" fmla="*/ 0 h 22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221577">
                  <a:moveTo>
                    <a:pt x="251709" y="47461"/>
                  </a:moveTo>
                  <a:lnTo>
                    <a:pt x="190946" y="221578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ísľîḍé"/>
            <p:cNvSpPr/>
            <p:nvPr/>
          </p:nvSpPr>
          <p:spPr>
            <a:xfrm>
              <a:off x="9559442" y="2775483"/>
              <a:ext cx="850570" cy="419481"/>
            </a:xfrm>
            <a:custGeom>
              <a:avLst/>
              <a:gdLst>
                <a:gd name="connsiteX0" fmla="*/ 850570 w 850570"/>
                <a:gd name="connsiteY0" fmla="*/ 364073 h 419481"/>
                <a:gd name="connsiteX1" fmla="*/ 555467 w 850570"/>
                <a:gd name="connsiteY1" fmla="*/ 0 h 419481"/>
                <a:gd name="connsiteX2" fmla="*/ 0 w 850570"/>
                <a:gd name="connsiteY2" fmla="*/ 419481 h 41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0570" h="419481">
                  <a:moveTo>
                    <a:pt x="850570" y="364073"/>
                  </a:moveTo>
                  <a:lnTo>
                    <a:pt x="555467" y="0"/>
                  </a:lnTo>
                  <a:lnTo>
                    <a:pt x="0" y="419481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1iḍè"/>
            <p:cNvSpPr/>
            <p:nvPr/>
          </p:nvSpPr>
          <p:spPr>
            <a:xfrm>
              <a:off x="10262460" y="2300593"/>
              <a:ext cx="147551" cy="229525"/>
            </a:xfrm>
            <a:custGeom>
              <a:avLst/>
              <a:gdLst>
                <a:gd name="connsiteX0" fmla="*/ 147552 w 147551"/>
                <a:gd name="connsiteY0" fmla="*/ 174117 h 229525"/>
                <a:gd name="connsiteX1" fmla="*/ 121528 w 147551"/>
                <a:gd name="connsiteY1" fmla="*/ 0 h 229525"/>
                <a:gd name="connsiteX2" fmla="*/ 0 w 147551"/>
                <a:gd name="connsiteY2" fmla="*/ 229526 h 22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51" h="229525">
                  <a:moveTo>
                    <a:pt x="147552" y="174117"/>
                  </a:moveTo>
                  <a:lnTo>
                    <a:pt x="121528" y="0"/>
                  </a:lnTo>
                  <a:lnTo>
                    <a:pt x="0" y="229526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iśḷïḍê"/>
            <p:cNvSpPr/>
            <p:nvPr/>
          </p:nvSpPr>
          <p:spPr>
            <a:xfrm>
              <a:off x="9729989" y="2189776"/>
              <a:ext cx="413972" cy="459051"/>
            </a:xfrm>
            <a:custGeom>
              <a:avLst/>
              <a:gdLst>
                <a:gd name="connsiteX0" fmla="*/ 413973 w 413972"/>
                <a:gd name="connsiteY0" fmla="*/ 0 h 459051"/>
                <a:gd name="connsiteX1" fmla="*/ 313277 w 413972"/>
                <a:gd name="connsiteY1" fmla="*/ 438646 h 459051"/>
                <a:gd name="connsiteX2" fmla="*/ 0 w 413972"/>
                <a:gd name="connsiteY2" fmla="*/ 459051 h 45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3972" h="459051">
                  <a:moveTo>
                    <a:pt x="413973" y="0"/>
                  </a:moveTo>
                  <a:lnTo>
                    <a:pt x="313277" y="438646"/>
                  </a:lnTo>
                  <a:lnTo>
                    <a:pt x="0" y="45905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ṡḻiḍè"/>
            <p:cNvSpPr/>
            <p:nvPr/>
          </p:nvSpPr>
          <p:spPr>
            <a:xfrm>
              <a:off x="11251928" y="2949600"/>
              <a:ext cx="676994" cy="1005132"/>
            </a:xfrm>
            <a:custGeom>
              <a:avLst/>
              <a:gdLst>
                <a:gd name="connsiteX0" fmla="*/ 676995 w 676994"/>
                <a:gd name="connsiteY0" fmla="*/ 0 h 1005132"/>
                <a:gd name="connsiteX1" fmla="*/ 607576 w 676994"/>
                <a:gd name="connsiteY1" fmla="*/ 1005132 h 1005132"/>
                <a:gd name="connsiteX2" fmla="*/ 0 w 676994"/>
                <a:gd name="connsiteY2" fmla="*/ 379912 h 100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994" h="1005132">
                  <a:moveTo>
                    <a:pt x="676995" y="0"/>
                  </a:moveTo>
                  <a:lnTo>
                    <a:pt x="607576" y="1005132"/>
                  </a:lnTo>
                  <a:lnTo>
                    <a:pt x="0" y="37991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ïṡľiḋé"/>
            <p:cNvSpPr/>
            <p:nvPr/>
          </p:nvSpPr>
          <p:spPr>
            <a:xfrm>
              <a:off x="11104376" y="2055229"/>
              <a:ext cx="1345334" cy="1115949"/>
            </a:xfrm>
            <a:custGeom>
              <a:avLst/>
              <a:gdLst>
                <a:gd name="connsiteX0" fmla="*/ 1345335 w 1345334"/>
                <a:gd name="connsiteY0" fmla="*/ 1115950 h 1115949"/>
                <a:gd name="connsiteX1" fmla="*/ 0 w 1345334"/>
                <a:gd name="connsiteY1" fmla="*/ 538190 h 1115949"/>
                <a:gd name="connsiteX2" fmla="*/ 1050232 w 1345334"/>
                <a:gd name="connsiteY2" fmla="*/ 0 h 11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5334" h="1115949">
                  <a:moveTo>
                    <a:pt x="1345335" y="1115950"/>
                  </a:moveTo>
                  <a:lnTo>
                    <a:pt x="0" y="538190"/>
                  </a:lnTo>
                  <a:lnTo>
                    <a:pt x="1050232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íślîḍê"/>
            <p:cNvSpPr/>
            <p:nvPr/>
          </p:nvSpPr>
          <p:spPr>
            <a:xfrm>
              <a:off x="10449697" y="1390383"/>
              <a:ext cx="1482996" cy="1472131"/>
            </a:xfrm>
            <a:custGeom>
              <a:avLst/>
              <a:gdLst>
                <a:gd name="connsiteX0" fmla="*/ 1482996 w 1482996"/>
                <a:gd name="connsiteY0" fmla="*/ 1198245 h 1472131"/>
                <a:gd name="connsiteX1" fmla="*/ 319087 w 1482996"/>
                <a:gd name="connsiteY1" fmla="*/ 0 h 1472131"/>
                <a:gd name="connsiteX2" fmla="*/ 0 w 1482996"/>
                <a:gd name="connsiteY2" fmla="*/ 1472131 h 147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2996" h="1472131">
                  <a:moveTo>
                    <a:pt x="1482996" y="1198245"/>
                  </a:moveTo>
                  <a:lnTo>
                    <a:pt x="319087" y="0"/>
                  </a:lnTo>
                  <a:lnTo>
                    <a:pt x="0" y="147213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  <a:tileRect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š1ïďe"/>
            <p:cNvSpPr/>
            <p:nvPr/>
          </p:nvSpPr>
          <p:spPr>
            <a:xfrm>
              <a:off x="10253806" y="3337404"/>
              <a:ext cx="451309" cy="625276"/>
            </a:xfrm>
            <a:custGeom>
              <a:avLst/>
              <a:gdLst>
                <a:gd name="connsiteX0" fmla="*/ 451309 w 451309"/>
                <a:gd name="connsiteY0" fmla="*/ 118708 h 625276"/>
                <a:gd name="connsiteX1" fmla="*/ 0 w 451309"/>
                <a:gd name="connsiteY1" fmla="*/ 0 h 625276"/>
                <a:gd name="connsiteX2" fmla="*/ 147552 w 451309"/>
                <a:gd name="connsiteY2" fmla="*/ 625277 h 62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309" h="625276">
                  <a:moveTo>
                    <a:pt x="451309" y="118708"/>
                  </a:moveTo>
                  <a:lnTo>
                    <a:pt x="0" y="0"/>
                  </a:lnTo>
                  <a:lnTo>
                    <a:pt x="147552" y="625277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ŝlîḍé"/>
            <p:cNvSpPr/>
            <p:nvPr/>
          </p:nvSpPr>
          <p:spPr>
            <a:xfrm>
              <a:off x="10924867" y="3479899"/>
              <a:ext cx="518007" cy="831015"/>
            </a:xfrm>
            <a:custGeom>
              <a:avLst/>
              <a:gdLst>
                <a:gd name="connsiteX0" fmla="*/ 76712 w 518007"/>
                <a:gd name="connsiteY0" fmla="*/ 0 h 831015"/>
                <a:gd name="connsiteX1" fmla="*/ 518007 w 518007"/>
                <a:gd name="connsiteY1" fmla="*/ 271181 h 831015"/>
                <a:gd name="connsiteX2" fmla="*/ 0 w 518007"/>
                <a:gd name="connsiteY2" fmla="*/ 831015 h 83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007" h="831015">
                  <a:moveTo>
                    <a:pt x="76712" y="0"/>
                  </a:moveTo>
                  <a:lnTo>
                    <a:pt x="518007" y="271181"/>
                  </a:lnTo>
                  <a:lnTo>
                    <a:pt x="0" y="83101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îśḻïdé"/>
            <p:cNvSpPr/>
            <p:nvPr/>
          </p:nvSpPr>
          <p:spPr>
            <a:xfrm>
              <a:off x="10844013" y="2917922"/>
              <a:ext cx="416630" cy="197903"/>
            </a:xfrm>
            <a:custGeom>
              <a:avLst/>
              <a:gdLst>
                <a:gd name="connsiteX0" fmla="*/ 260363 w 416630"/>
                <a:gd name="connsiteY0" fmla="*/ 197904 h 197903"/>
                <a:gd name="connsiteX1" fmla="*/ 416631 w 416630"/>
                <a:gd name="connsiteY1" fmla="*/ 0 h 197903"/>
                <a:gd name="connsiteX2" fmla="*/ 0 w 416630"/>
                <a:gd name="connsiteY2" fmla="*/ 39570 h 1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6630" h="197903">
                  <a:moveTo>
                    <a:pt x="260363" y="197904"/>
                  </a:moveTo>
                  <a:lnTo>
                    <a:pt x="416631" y="0"/>
                  </a:lnTo>
                  <a:lnTo>
                    <a:pt x="0" y="3957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ísļiďe"/>
            <p:cNvSpPr/>
            <p:nvPr/>
          </p:nvSpPr>
          <p:spPr>
            <a:xfrm>
              <a:off x="11477614" y="733484"/>
              <a:ext cx="173575" cy="308664"/>
            </a:xfrm>
            <a:custGeom>
              <a:avLst/>
              <a:gdLst>
                <a:gd name="connsiteX0" fmla="*/ 173576 w 173575"/>
                <a:gd name="connsiteY0" fmla="*/ 71248 h 308664"/>
                <a:gd name="connsiteX1" fmla="*/ 112812 w 173575"/>
                <a:gd name="connsiteY1" fmla="*/ 308665 h 308664"/>
                <a:gd name="connsiteX2" fmla="*/ 0 w 173575"/>
                <a:gd name="connsiteY2" fmla="*/ 0 h 30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575" h="308664">
                  <a:moveTo>
                    <a:pt x="173576" y="71248"/>
                  </a:moveTo>
                  <a:lnTo>
                    <a:pt x="112812" y="3086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iṥḻîḓe"/>
            <p:cNvSpPr/>
            <p:nvPr/>
          </p:nvSpPr>
          <p:spPr>
            <a:xfrm>
              <a:off x="11026243" y="4366323"/>
              <a:ext cx="156267" cy="332394"/>
            </a:xfrm>
            <a:custGeom>
              <a:avLst/>
              <a:gdLst>
                <a:gd name="connsiteX0" fmla="*/ 156268 w 156267"/>
                <a:gd name="connsiteY0" fmla="*/ 87030 h 332394"/>
                <a:gd name="connsiteX1" fmla="*/ 17370 w 156267"/>
                <a:gd name="connsiteY1" fmla="*/ 0 h 332394"/>
                <a:gd name="connsiteX2" fmla="*/ 0 w 156267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267" h="332394">
                  <a:moveTo>
                    <a:pt x="156268" y="87030"/>
                  </a:moveTo>
                  <a:lnTo>
                    <a:pt x="17370" y="0"/>
                  </a:lnTo>
                  <a:lnTo>
                    <a:pt x="0" y="3323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ṥḷïḋé"/>
            <p:cNvSpPr/>
            <p:nvPr/>
          </p:nvSpPr>
          <p:spPr>
            <a:xfrm rot="13369106">
              <a:off x="11555811" y="4167751"/>
              <a:ext cx="911395" cy="953589"/>
            </a:xfrm>
            <a:custGeom>
              <a:avLst/>
              <a:gdLst>
                <a:gd name="connsiteX0" fmla="*/ 911396 w 911395"/>
                <a:gd name="connsiteY0" fmla="*/ 340343 h 1250553"/>
                <a:gd name="connsiteX1" fmla="*/ 0 w 911395"/>
                <a:gd name="connsiteY1" fmla="*/ 0 h 1250553"/>
                <a:gd name="connsiteX2" fmla="*/ 772498 w 911395"/>
                <a:gd name="connsiteY2" fmla="*/ 1250553 h 1250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1395" h="1250553">
                  <a:moveTo>
                    <a:pt x="911396" y="340343"/>
                  </a:moveTo>
                  <a:lnTo>
                    <a:pt x="0" y="0"/>
                  </a:lnTo>
                  <a:lnTo>
                    <a:pt x="772498" y="1250553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ïśļïdé"/>
            <p:cNvSpPr/>
            <p:nvPr/>
          </p:nvSpPr>
          <p:spPr>
            <a:xfrm>
              <a:off x="9550726" y="1865273"/>
              <a:ext cx="312473" cy="340342"/>
            </a:xfrm>
            <a:custGeom>
              <a:avLst/>
              <a:gdLst>
                <a:gd name="connsiteX0" fmla="*/ 312473 w 312473"/>
                <a:gd name="connsiteY0" fmla="*/ 0 h 340342"/>
                <a:gd name="connsiteX1" fmla="*/ 0 w 312473"/>
                <a:gd name="connsiteY1" fmla="*/ 55408 h 340342"/>
                <a:gd name="connsiteX2" fmla="*/ 208315 w 312473"/>
                <a:gd name="connsiteY2" fmla="*/ 340343 h 34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473" h="340342">
                  <a:moveTo>
                    <a:pt x="312473" y="0"/>
                  </a:moveTo>
                  <a:lnTo>
                    <a:pt x="0" y="55408"/>
                  </a:lnTo>
                  <a:lnTo>
                    <a:pt x="208315" y="340343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4" name="组合 33"/>
          <p:cNvGrpSpPr/>
          <p:nvPr userDrawn="1"/>
        </p:nvGrpSpPr>
        <p:grpSpPr>
          <a:xfrm>
            <a:off x="-760661" y="1204686"/>
            <a:ext cx="4527681" cy="6252838"/>
            <a:chOff x="-760661" y="1204686"/>
            <a:chExt cx="4527681" cy="6252838"/>
          </a:xfrm>
        </p:grpSpPr>
        <p:sp>
          <p:nvSpPr>
            <p:cNvPr id="35" name="iSḻîḑê"/>
            <p:cNvSpPr/>
            <p:nvPr/>
          </p:nvSpPr>
          <p:spPr>
            <a:xfrm>
              <a:off x="354844" y="6290704"/>
              <a:ext cx="1181164" cy="1166820"/>
            </a:xfrm>
            <a:custGeom>
              <a:avLst/>
              <a:gdLst>
                <a:gd name="connsiteX0" fmla="*/ 0 w 1181164"/>
                <a:gd name="connsiteY0" fmla="*/ 0 h 1166820"/>
                <a:gd name="connsiteX1" fmla="*/ 393722 w 1181164"/>
                <a:gd name="connsiteY1" fmla="*/ 1166821 h 1166820"/>
                <a:gd name="connsiteX2" fmla="*/ 1181165 w 1181164"/>
                <a:gd name="connsiteY2" fmla="*/ 344054 h 1166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1164" h="1166820">
                  <a:moveTo>
                    <a:pt x="0" y="0"/>
                  </a:moveTo>
                  <a:lnTo>
                    <a:pt x="393722" y="1166821"/>
                  </a:lnTo>
                  <a:lnTo>
                    <a:pt x="1181165" y="344054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îṡ1ïdè"/>
            <p:cNvSpPr/>
            <p:nvPr/>
          </p:nvSpPr>
          <p:spPr>
            <a:xfrm>
              <a:off x="-760661" y="5168787"/>
              <a:ext cx="1246765" cy="1525789"/>
            </a:xfrm>
            <a:custGeom>
              <a:avLst/>
              <a:gdLst>
                <a:gd name="connsiteX0" fmla="*/ 0 w 1246765"/>
                <a:gd name="connsiteY0" fmla="*/ 0 h 1525789"/>
                <a:gd name="connsiteX1" fmla="*/ 721784 w 1246765"/>
                <a:gd name="connsiteY1" fmla="*/ 1525790 h 1525789"/>
                <a:gd name="connsiteX2" fmla="*/ 1246766 w 1246765"/>
                <a:gd name="connsiteY2" fmla="*/ 89755 h 152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765" h="1525789">
                  <a:moveTo>
                    <a:pt x="0" y="0"/>
                  </a:moveTo>
                  <a:lnTo>
                    <a:pt x="721784" y="1525790"/>
                  </a:lnTo>
                  <a:lnTo>
                    <a:pt x="1246766" y="89755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iṥḻiḓè"/>
            <p:cNvSpPr/>
            <p:nvPr/>
          </p:nvSpPr>
          <p:spPr>
            <a:xfrm>
              <a:off x="715736" y="5662416"/>
              <a:ext cx="1164750" cy="718043"/>
            </a:xfrm>
            <a:custGeom>
              <a:avLst/>
              <a:gdLst>
                <a:gd name="connsiteX0" fmla="*/ 0 w 1164750"/>
                <a:gd name="connsiteY0" fmla="*/ 0 h 718043"/>
                <a:gd name="connsiteX1" fmla="*/ 377307 w 1164750"/>
                <a:gd name="connsiteY1" fmla="*/ 718044 h 718043"/>
                <a:gd name="connsiteX2" fmla="*/ 1164750 w 1164750"/>
                <a:gd name="connsiteY2" fmla="*/ 344054 h 71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4750" h="718043">
                  <a:moveTo>
                    <a:pt x="0" y="0"/>
                  </a:moveTo>
                  <a:lnTo>
                    <a:pt x="377307" y="718044"/>
                  </a:lnTo>
                  <a:lnTo>
                    <a:pt x="1164750" y="344054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iṥ1iḑê"/>
            <p:cNvSpPr/>
            <p:nvPr/>
          </p:nvSpPr>
          <p:spPr>
            <a:xfrm>
              <a:off x="1700040" y="5019212"/>
              <a:ext cx="787443" cy="688107"/>
            </a:xfrm>
            <a:custGeom>
              <a:avLst/>
              <a:gdLst>
                <a:gd name="connsiteX0" fmla="*/ 0 w 787443"/>
                <a:gd name="connsiteY0" fmla="*/ 0 h 688107"/>
                <a:gd name="connsiteX1" fmla="*/ 180446 w 787443"/>
                <a:gd name="connsiteY1" fmla="*/ 688107 h 688107"/>
                <a:gd name="connsiteX2" fmla="*/ 787443 w 787443"/>
                <a:gd name="connsiteY2" fmla="*/ 433809 h 68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443" h="688107">
                  <a:moveTo>
                    <a:pt x="0" y="0"/>
                  </a:moveTo>
                  <a:lnTo>
                    <a:pt x="180446" y="688107"/>
                  </a:lnTo>
                  <a:lnTo>
                    <a:pt x="787443" y="433809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ïṣ1íḋê"/>
            <p:cNvSpPr/>
            <p:nvPr/>
          </p:nvSpPr>
          <p:spPr>
            <a:xfrm>
              <a:off x="2389053" y="5587628"/>
              <a:ext cx="180446" cy="299202"/>
            </a:xfrm>
            <a:custGeom>
              <a:avLst/>
              <a:gdLst>
                <a:gd name="connsiteX0" fmla="*/ 0 w 180446"/>
                <a:gd name="connsiteY0" fmla="*/ 299203 h 299202"/>
                <a:gd name="connsiteX1" fmla="*/ 164031 w 180446"/>
                <a:gd name="connsiteY1" fmla="*/ 0 h 299202"/>
                <a:gd name="connsiteX2" fmla="*/ 180446 w 180446"/>
                <a:gd name="connsiteY2" fmla="*/ 269266 h 299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46" h="299202">
                  <a:moveTo>
                    <a:pt x="0" y="299203"/>
                  </a:moveTo>
                  <a:lnTo>
                    <a:pt x="164031" y="0"/>
                  </a:lnTo>
                  <a:lnTo>
                    <a:pt x="180446" y="26926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ïṣ1ïdê"/>
            <p:cNvSpPr/>
            <p:nvPr/>
          </p:nvSpPr>
          <p:spPr>
            <a:xfrm>
              <a:off x="363081" y="4802308"/>
              <a:ext cx="237868" cy="306660"/>
            </a:xfrm>
            <a:custGeom>
              <a:avLst/>
              <a:gdLst>
                <a:gd name="connsiteX0" fmla="*/ 0 w 237868"/>
                <a:gd name="connsiteY0" fmla="*/ 231873 h 306660"/>
                <a:gd name="connsiteX1" fmla="*/ 73779 w 237868"/>
                <a:gd name="connsiteY1" fmla="*/ 0 h 306660"/>
                <a:gd name="connsiteX2" fmla="*/ 237869 w 237868"/>
                <a:gd name="connsiteY2" fmla="*/ 306660 h 30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868" h="306660">
                  <a:moveTo>
                    <a:pt x="0" y="231873"/>
                  </a:moveTo>
                  <a:lnTo>
                    <a:pt x="73779" y="0"/>
                  </a:lnTo>
                  <a:lnTo>
                    <a:pt x="237869" y="30666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iṩḻïdè"/>
            <p:cNvSpPr/>
            <p:nvPr/>
          </p:nvSpPr>
          <p:spPr>
            <a:xfrm>
              <a:off x="1585195" y="6313129"/>
              <a:ext cx="262461" cy="314170"/>
            </a:xfrm>
            <a:custGeom>
              <a:avLst/>
              <a:gdLst>
                <a:gd name="connsiteX0" fmla="*/ 0 w 262461"/>
                <a:gd name="connsiteY0" fmla="*/ 194479 h 314170"/>
                <a:gd name="connsiteX1" fmla="*/ 262462 w 262461"/>
                <a:gd name="connsiteY1" fmla="*/ 314171 h 314170"/>
                <a:gd name="connsiteX2" fmla="*/ 114845 w 262461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461" h="314170">
                  <a:moveTo>
                    <a:pt x="0" y="194479"/>
                  </a:moveTo>
                  <a:lnTo>
                    <a:pt x="262462" y="314171"/>
                  </a:lnTo>
                  <a:lnTo>
                    <a:pt x="114845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śľíḓê"/>
            <p:cNvSpPr/>
            <p:nvPr/>
          </p:nvSpPr>
          <p:spPr>
            <a:xfrm>
              <a:off x="2028161" y="5759682"/>
              <a:ext cx="1131920" cy="755437"/>
            </a:xfrm>
            <a:custGeom>
              <a:avLst/>
              <a:gdLst>
                <a:gd name="connsiteX0" fmla="*/ 0 w 1131920"/>
                <a:gd name="connsiteY0" fmla="*/ 613320 h 755437"/>
                <a:gd name="connsiteX1" fmla="*/ 1131921 w 1131920"/>
                <a:gd name="connsiteY1" fmla="*/ 0 h 755437"/>
                <a:gd name="connsiteX2" fmla="*/ 836629 w 1131920"/>
                <a:gd name="connsiteY2" fmla="*/ 755437 h 75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1920" h="755437">
                  <a:moveTo>
                    <a:pt x="0" y="613320"/>
                  </a:moveTo>
                  <a:lnTo>
                    <a:pt x="1131921" y="0"/>
                  </a:lnTo>
                  <a:lnTo>
                    <a:pt x="836629" y="755437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îŝļiḓé"/>
            <p:cNvSpPr/>
            <p:nvPr/>
          </p:nvSpPr>
          <p:spPr>
            <a:xfrm>
              <a:off x="1864072" y="6582396"/>
              <a:ext cx="1058141" cy="747979"/>
            </a:xfrm>
            <a:custGeom>
              <a:avLst/>
              <a:gdLst>
                <a:gd name="connsiteX0" fmla="*/ 0 w 1058141"/>
                <a:gd name="connsiteY0" fmla="*/ 388958 h 747979"/>
                <a:gd name="connsiteX1" fmla="*/ 623412 w 1058141"/>
                <a:gd name="connsiteY1" fmla="*/ 0 h 747979"/>
                <a:gd name="connsiteX2" fmla="*/ 1058142 w 1058141"/>
                <a:gd name="connsiteY2" fmla="*/ 747980 h 747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8141" h="747979">
                  <a:moveTo>
                    <a:pt x="0" y="388958"/>
                  </a:moveTo>
                  <a:lnTo>
                    <a:pt x="623412" y="0"/>
                  </a:lnTo>
                  <a:lnTo>
                    <a:pt x="1058142" y="74798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îšľïďê"/>
            <p:cNvSpPr/>
            <p:nvPr/>
          </p:nvSpPr>
          <p:spPr>
            <a:xfrm>
              <a:off x="3184675" y="5976586"/>
              <a:ext cx="582345" cy="882586"/>
            </a:xfrm>
            <a:custGeom>
              <a:avLst/>
              <a:gdLst>
                <a:gd name="connsiteX0" fmla="*/ 0 w 582345"/>
                <a:gd name="connsiteY0" fmla="*/ 388905 h 882586"/>
                <a:gd name="connsiteX1" fmla="*/ 295291 w 582345"/>
                <a:gd name="connsiteY1" fmla="*/ 882586 h 882586"/>
                <a:gd name="connsiteX2" fmla="*/ 582346 w 582345"/>
                <a:gd name="connsiteY2" fmla="*/ 0 h 88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2345" h="882586">
                  <a:moveTo>
                    <a:pt x="0" y="388905"/>
                  </a:moveTo>
                  <a:lnTo>
                    <a:pt x="295291" y="882586"/>
                  </a:lnTo>
                  <a:lnTo>
                    <a:pt x="582346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ïsliḓé"/>
            <p:cNvSpPr/>
            <p:nvPr/>
          </p:nvSpPr>
          <p:spPr>
            <a:xfrm>
              <a:off x="3028822" y="6582396"/>
              <a:ext cx="237868" cy="209447"/>
            </a:xfrm>
            <a:custGeom>
              <a:avLst/>
              <a:gdLst>
                <a:gd name="connsiteX0" fmla="*/ 0 w 237868"/>
                <a:gd name="connsiteY0" fmla="*/ 164543 h 209447"/>
                <a:gd name="connsiteX1" fmla="*/ 57422 w 237868"/>
                <a:gd name="connsiteY1" fmla="*/ 0 h 209447"/>
                <a:gd name="connsiteX2" fmla="*/ 237868 w 237868"/>
                <a:gd name="connsiteY2" fmla="*/ 209447 h 20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868" h="209447">
                  <a:moveTo>
                    <a:pt x="0" y="164543"/>
                  </a:moveTo>
                  <a:lnTo>
                    <a:pt x="57422" y="0"/>
                  </a:lnTo>
                  <a:lnTo>
                    <a:pt x="237868" y="209447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íśľiďè"/>
            <p:cNvSpPr/>
            <p:nvPr/>
          </p:nvSpPr>
          <p:spPr>
            <a:xfrm>
              <a:off x="1642618" y="3807541"/>
              <a:ext cx="803858" cy="396415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íśļîdè"/>
            <p:cNvSpPr/>
            <p:nvPr/>
          </p:nvSpPr>
          <p:spPr>
            <a:xfrm>
              <a:off x="1642618" y="4435829"/>
              <a:ext cx="139438" cy="216904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ṩḻiḓè"/>
            <p:cNvSpPr/>
            <p:nvPr/>
          </p:nvSpPr>
          <p:spPr>
            <a:xfrm>
              <a:off x="1894097" y="4323595"/>
              <a:ext cx="391151" cy="433809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íṧḻîḋe"/>
            <p:cNvSpPr/>
            <p:nvPr/>
          </p:nvSpPr>
          <p:spPr>
            <a:xfrm>
              <a:off x="207228" y="3089497"/>
              <a:ext cx="639768" cy="949916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í$ļïdê"/>
            <p:cNvSpPr/>
            <p:nvPr/>
          </p:nvSpPr>
          <p:spPr>
            <a:xfrm>
              <a:off x="-284923" y="3829966"/>
              <a:ext cx="1271358" cy="1054586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iṧļïdè"/>
            <p:cNvSpPr/>
            <p:nvPr/>
          </p:nvSpPr>
          <p:spPr>
            <a:xfrm>
              <a:off x="203665" y="4121658"/>
              <a:ext cx="1401450" cy="1391183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íṥḷíḓè"/>
            <p:cNvSpPr/>
            <p:nvPr/>
          </p:nvSpPr>
          <p:spPr>
            <a:xfrm>
              <a:off x="-153663" y="1795580"/>
              <a:ext cx="918645" cy="1383672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işḷiḋè"/>
            <p:cNvSpPr/>
            <p:nvPr/>
          </p:nvSpPr>
          <p:spPr>
            <a:xfrm>
              <a:off x="666550" y="2752954"/>
              <a:ext cx="489523" cy="785320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iṣlîďê"/>
            <p:cNvSpPr/>
            <p:nvPr/>
          </p:nvSpPr>
          <p:spPr>
            <a:xfrm>
              <a:off x="838818" y="3882328"/>
              <a:ext cx="393663" cy="186968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îš1íḑé"/>
            <p:cNvSpPr/>
            <p:nvPr/>
          </p:nvSpPr>
          <p:spPr>
            <a:xfrm>
              <a:off x="469689" y="5841927"/>
              <a:ext cx="164031" cy="291691"/>
            </a:xfrm>
            <a:custGeom>
              <a:avLst/>
              <a:gdLst>
                <a:gd name="connsiteX0" fmla="*/ 0 w 164031"/>
                <a:gd name="connsiteY0" fmla="*/ 224415 h 291691"/>
                <a:gd name="connsiteX1" fmla="*/ 57423 w 164031"/>
                <a:gd name="connsiteY1" fmla="*/ 0 h 291691"/>
                <a:gd name="connsiteX2" fmla="*/ 164031 w 164031"/>
                <a:gd name="connsiteY2" fmla="*/ 291692 h 29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031" h="291691">
                  <a:moveTo>
                    <a:pt x="0" y="224415"/>
                  </a:moveTo>
                  <a:lnTo>
                    <a:pt x="57423" y="0"/>
                  </a:lnTo>
                  <a:lnTo>
                    <a:pt x="164031" y="291692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îṩlîḑè"/>
            <p:cNvSpPr/>
            <p:nvPr/>
          </p:nvSpPr>
          <p:spPr>
            <a:xfrm>
              <a:off x="912597" y="2386421"/>
              <a:ext cx="147674" cy="314170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ïŝľíďe"/>
            <p:cNvSpPr/>
            <p:nvPr/>
          </p:nvSpPr>
          <p:spPr>
            <a:xfrm>
              <a:off x="641957" y="1204686"/>
              <a:ext cx="861222" cy="1181735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îS1îḍè"/>
            <p:cNvSpPr/>
            <p:nvPr/>
          </p:nvSpPr>
          <p:spPr>
            <a:xfrm>
              <a:off x="2159363" y="4742489"/>
              <a:ext cx="295291" cy="321575"/>
            </a:xfrm>
            <a:custGeom>
              <a:avLst/>
              <a:gdLst>
                <a:gd name="connsiteX0" fmla="*/ 0 w 295291"/>
                <a:gd name="connsiteY0" fmla="*/ 321575 h 321575"/>
                <a:gd name="connsiteX1" fmla="*/ 295291 w 295291"/>
                <a:gd name="connsiteY1" fmla="*/ 269213 h 321575"/>
                <a:gd name="connsiteX2" fmla="*/ 98430 w 295291"/>
                <a:gd name="connsiteY2" fmla="*/ 0 h 32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5291" h="321575">
                  <a:moveTo>
                    <a:pt x="0" y="321575"/>
                  </a:moveTo>
                  <a:lnTo>
                    <a:pt x="295291" y="269213"/>
                  </a:lnTo>
                  <a:lnTo>
                    <a:pt x="9843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íṡḻiďè"/>
            <p:cNvSpPr/>
            <p:nvPr/>
          </p:nvSpPr>
          <p:spPr>
            <a:xfrm rot="6848855">
              <a:off x="1365225" y="3054362"/>
              <a:ext cx="523885" cy="396415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85185" y="6012617"/>
            <a:ext cx="373763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79554" y="4566299"/>
            <a:ext cx="11054265" cy="558799"/>
          </a:xfrm>
          <a:prstGeom prst="rect">
            <a:avLst/>
          </a:prstGeom>
          <a:noFill/>
        </p:spPr>
        <p:txBody>
          <a:bodyPr tIns="0" bIns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79003" y="2316184"/>
            <a:ext cx="11054816" cy="164407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9003" y="6012617"/>
            <a:ext cx="393856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81025" y="1591379"/>
            <a:ext cx="11191691" cy="2516164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07188" y="5944192"/>
            <a:ext cx="4914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81025" y="5944192"/>
            <a:ext cx="4914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pic>
        <p:nvPicPr>
          <p:cNvPr id="35" name="图片 34"/>
          <p:cNvPicPr>
            <a:picLocks noChangeAspect="1"/>
          </p:cNvPicPr>
          <p:nvPr userDrawn="1"/>
        </p:nvPicPr>
        <p:blipFill rotWithShape="1">
          <a:blip r:embed="rId2"/>
          <a:srcRect t="11682" r="15717" b="-3961"/>
          <a:stretch>
            <a:fillRect/>
          </a:stretch>
        </p:blipFill>
        <p:spPr>
          <a:xfrm>
            <a:off x="8153654" y="0"/>
            <a:ext cx="4038346" cy="55128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570641" y="3792642"/>
            <a:ext cx="4617356" cy="516164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6570641" y="2557076"/>
            <a:ext cx="4617356" cy="11557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924187" y="2106713"/>
            <a:ext cx="3228712" cy="2906067"/>
            <a:chOff x="-875931" y="2538513"/>
            <a:chExt cx="2823626" cy="2906067"/>
          </a:xfrm>
        </p:grpSpPr>
        <p:sp>
          <p:nvSpPr>
            <p:cNvPr id="17" name="îšliḍe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iṣľïdé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íṧḷïḑé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ṧļiḍé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íṣ1îḋe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23" name="íşľîḍe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śḻíďè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ṡlîḍè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ïṣļïḍê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îṡľíďê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ïŝľíḑe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iŝľîḋè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81025" y="1591379"/>
            <a:ext cx="11191691" cy="2516164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07188" y="5944192"/>
            <a:ext cx="4914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81025" y="5944192"/>
            <a:ext cx="4914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8161998" y="-667399"/>
            <a:ext cx="4791131" cy="5788739"/>
            <a:chOff x="8161998" y="-667399"/>
            <a:chExt cx="4791131" cy="5788739"/>
          </a:xfrm>
        </p:grpSpPr>
        <p:sp>
          <p:nvSpPr>
            <p:cNvPr id="8" name="îṩḻîḋe"/>
            <p:cNvSpPr/>
            <p:nvPr/>
          </p:nvSpPr>
          <p:spPr>
            <a:xfrm>
              <a:off x="10522824" y="-667399"/>
              <a:ext cx="1249892" cy="1234657"/>
            </a:xfrm>
            <a:custGeom>
              <a:avLst/>
              <a:gdLst>
                <a:gd name="connsiteX0" fmla="*/ 1249893 w 1249892"/>
                <a:gd name="connsiteY0" fmla="*/ 1234658 h 1234657"/>
                <a:gd name="connsiteX1" fmla="*/ 833262 w 1249892"/>
                <a:gd name="connsiteY1" fmla="*/ 0 h 1234657"/>
                <a:gd name="connsiteX2" fmla="*/ 0 w 1249892"/>
                <a:gd name="connsiteY2" fmla="*/ 870585 h 123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892" h="1234657">
                  <a:moveTo>
                    <a:pt x="1249893" y="1234658"/>
                  </a:moveTo>
                  <a:lnTo>
                    <a:pt x="833262" y="0"/>
                  </a:lnTo>
                  <a:lnTo>
                    <a:pt x="0" y="87058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ş1iḑè"/>
            <p:cNvSpPr/>
            <p:nvPr/>
          </p:nvSpPr>
          <p:spPr>
            <a:xfrm>
              <a:off x="11633819" y="139886"/>
              <a:ext cx="1319310" cy="1614626"/>
            </a:xfrm>
            <a:custGeom>
              <a:avLst/>
              <a:gdLst>
                <a:gd name="connsiteX0" fmla="*/ 1319311 w 1319310"/>
                <a:gd name="connsiteY0" fmla="*/ 1614627 h 1614626"/>
                <a:gd name="connsiteX1" fmla="*/ 555529 w 1319310"/>
                <a:gd name="connsiteY1" fmla="*/ 0 h 1614626"/>
                <a:gd name="connsiteX2" fmla="*/ 0 w 1319310"/>
                <a:gd name="connsiteY2" fmla="*/ 1519648 h 161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9310" h="1614626">
                  <a:moveTo>
                    <a:pt x="1319311" y="1614627"/>
                  </a:moveTo>
                  <a:lnTo>
                    <a:pt x="555529" y="0"/>
                  </a:lnTo>
                  <a:lnTo>
                    <a:pt x="0" y="1519648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iṩľîḋé"/>
            <p:cNvSpPr/>
            <p:nvPr/>
          </p:nvSpPr>
          <p:spPr>
            <a:xfrm>
              <a:off x="10158303" y="472337"/>
              <a:ext cx="1232523" cy="759767"/>
            </a:xfrm>
            <a:custGeom>
              <a:avLst/>
              <a:gdLst>
                <a:gd name="connsiteX0" fmla="*/ 1232523 w 1232523"/>
                <a:gd name="connsiteY0" fmla="*/ 759768 h 759767"/>
                <a:gd name="connsiteX1" fmla="*/ 833262 w 1232523"/>
                <a:gd name="connsiteY1" fmla="*/ 0 h 759767"/>
                <a:gd name="connsiteX2" fmla="*/ 0 w 1232523"/>
                <a:gd name="connsiteY2" fmla="*/ 395695 h 75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2523" h="759767">
                  <a:moveTo>
                    <a:pt x="1232523" y="759768"/>
                  </a:moveTo>
                  <a:lnTo>
                    <a:pt x="833262" y="0"/>
                  </a:lnTo>
                  <a:lnTo>
                    <a:pt x="0" y="3956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ïṥḷiďê"/>
            <p:cNvSpPr/>
            <p:nvPr/>
          </p:nvSpPr>
          <p:spPr>
            <a:xfrm>
              <a:off x="9515986" y="1184644"/>
              <a:ext cx="833261" cy="728146"/>
            </a:xfrm>
            <a:custGeom>
              <a:avLst/>
              <a:gdLst>
                <a:gd name="connsiteX0" fmla="*/ 833262 w 833261"/>
                <a:gd name="connsiteY0" fmla="*/ 728146 h 728146"/>
                <a:gd name="connsiteX1" fmla="*/ 642317 w 833261"/>
                <a:gd name="connsiteY1" fmla="*/ 0 h 728146"/>
                <a:gd name="connsiteX2" fmla="*/ 0 w 833261"/>
                <a:gd name="connsiteY2" fmla="*/ 269095 h 7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61" h="728146">
                  <a:moveTo>
                    <a:pt x="833262" y="728146"/>
                  </a:moveTo>
                  <a:lnTo>
                    <a:pt x="642317" y="0"/>
                  </a:lnTo>
                  <a:lnTo>
                    <a:pt x="0" y="269095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ïSľïďe"/>
            <p:cNvSpPr/>
            <p:nvPr/>
          </p:nvSpPr>
          <p:spPr>
            <a:xfrm>
              <a:off x="9429199" y="994688"/>
              <a:ext cx="190945" cy="316555"/>
            </a:xfrm>
            <a:custGeom>
              <a:avLst/>
              <a:gdLst>
                <a:gd name="connsiteX0" fmla="*/ 190946 w 190945"/>
                <a:gd name="connsiteY0" fmla="*/ 0 h 316555"/>
                <a:gd name="connsiteX1" fmla="*/ 17370 w 190945"/>
                <a:gd name="connsiteY1" fmla="*/ 316556 h 316555"/>
                <a:gd name="connsiteX2" fmla="*/ 0 w 190945"/>
                <a:gd name="connsiteY2" fmla="*/ 31622 h 31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945" h="316555">
                  <a:moveTo>
                    <a:pt x="190946" y="0"/>
                  </a:moveTo>
                  <a:lnTo>
                    <a:pt x="17370" y="316556"/>
                  </a:lnTo>
                  <a:lnTo>
                    <a:pt x="0" y="3162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ṩľïďe"/>
            <p:cNvSpPr/>
            <p:nvPr/>
          </p:nvSpPr>
          <p:spPr>
            <a:xfrm>
              <a:off x="11512353" y="1817812"/>
              <a:ext cx="251709" cy="324503"/>
            </a:xfrm>
            <a:custGeom>
              <a:avLst/>
              <a:gdLst>
                <a:gd name="connsiteX0" fmla="*/ 251709 w 251709"/>
                <a:gd name="connsiteY0" fmla="*/ 79139 h 324503"/>
                <a:gd name="connsiteX1" fmla="*/ 173576 w 251709"/>
                <a:gd name="connsiteY1" fmla="*/ 324504 h 324503"/>
                <a:gd name="connsiteX2" fmla="*/ 0 w 251709"/>
                <a:gd name="connsiteY2" fmla="*/ 0 h 32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324503">
                  <a:moveTo>
                    <a:pt x="251709" y="79139"/>
                  </a:moveTo>
                  <a:lnTo>
                    <a:pt x="173576" y="3245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$ľidê"/>
            <p:cNvSpPr/>
            <p:nvPr/>
          </p:nvSpPr>
          <p:spPr>
            <a:xfrm>
              <a:off x="10193043" y="211133"/>
              <a:ext cx="277733" cy="332394"/>
            </a:xfrm>
            <a:custGeom>
              <a:avLst/>
              <a:gdLst>
                <a:gd name="connsiteX0" fmla="*/ 277733 w 277733"/>
                <a:gd name="connsiteY0" fmla="*/ 126600 h 332394"/>
                <a:gd name="connsiteX1" fmla="*/ 0 w 277733"/>
                <a:gd name="connsiteY1" fmla="*/ 0 h 332394"/>
                <a:gd name="connsiteX2" fmla="*/ 156206 w 277733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7733" h="332394">
                  <a:moveTo>
                    <a:pt x="277733" y="126600"/>
                  </a:moveTo>
                  <a:lnTo>
                    <a:pt x="0" y="0"/>
                  </a:lnTo>
                  <a:lnTo>
                    <a:pt x="156206" y="332395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iṣľïḋe"/>
            <p:cNvSpPr/>
            <p:nvPr/>
          </p:nvSpPr>
          <p:spPr>
            <a:xfrm>
              <a:off x="8804314" y="329842"/>
              <a:ext cx="1197783" cy="799393"/>
            </a:xfrm>
            <a:custGeom>
              <a:avLst/>
              <a:gdLst>
                <a:gd name="connsiteX0" fmla="*/ 1197783 w 1197783"/>
                <a:gd name="connsiteY0" fmla="*/ 150387 h 799393"/>
                <a:gd name="connsiteX1" fmla="*/ 0 w 1197783"/>
                <a:gd name="connsiteY1" fmla="*/ 799394 h 799393"/>
                <a:gd name="connsiteX2" fmla="*/ 312411 w 1197783"/>
                <a:gd name="connsiteY2" fmla="*/ 0 h 79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783" h="799393">
                  <a:moveTo>
                    <a:pt x="1197783" y="150387"/>
                  </a:moveTo>
                  <a:lnTo>
                    <a:pt x="0" y="799394"/>
                  </a:lnTo>
                  <a:lnTo>
                    <a:pt x="312411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ïš1íḋè"/>
            <p:cNvSpPr/>
            <p:nvPr/>
          </p:nvSpPr>
          <p:spPr>
            <a:xfrm>
              <a:off x="9056023" y="-532851"/>
              <a:ext cx="1119649" cy="791445"/>
            </a:xfrm>
            <a:custGeom>
              <a:avLst/>
              <a:gdLst>
                <a:gd name="connsiteX0" fmla="*/ 1119649 w 1119649"/>
                <a:gd name="connsiteY0" fmla="*/ 379912 h 791445"/>
                <a:gd name="connsiteX1" fmla="*/ 459963 w 1119649"/>
                <a:gd name="connsiteY1" fmla="*/ 791446 h 791445"/>
                <a:gd name="connsiteX2" fmla="*/ 0 w 1119649"/>
                <a:gd name="connsiteY2" fmla="*/ 0 h 79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649" h="791445">
                  <a:moveTo>
                    <a:pt x="1119649" y="379912"/>
                  </a:moveTo>
                  <a:lnTo>
                    <a:pt x="459963" y="79144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îṥľïḓe"/>
            <p:cNvSpPr/>
            <p:nvPr/>
          </p:nvSpPr>
          <p:spPr>
            <a:xfrm>
              <a:off x="8161998" y="-34230"/>
              <a:ext cx="616230" cy="933941"/>
            </a:xfrm>
            <a:custGeom>
              <a:avLst/>
              <a:gdLst>
                <a:gd name="connsiteX0" fmla="*/ 616231 w 616230"/>
                <a:gd name="connsiteY0" fmla="*/ 522351 h 933941"/>
                <a:gd name="connsiteX1" fmla="*/ 303757 w 616230"/>
                <a:gd name="connsiteY1" fmla="*/ 0 h 933941"/>
                <a:gd name="connsiteX2" fmla="*/ 0 w 616230"/>
                <a:gd name="connsiteY2" fmla="*/ 933941 h 933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6230" h="933941">
                  <a:moveTo>
                    <a:pt x="616231" y="522351"/>
                  </a:moveTo>
                  <a:lnTo>
                    <a:pt x="303757" y="0"/>
                  </a:lnTo>
                  <a:lnTo>
                    <a:pt x="0" y="93394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ṣḻïḋe"/>
            <p:cNvSpPr/>
            <p:nvPr/>
          </p:nvSpPr>
          <p:spPr>
            <a:xfrm>
              <a:off x="8691440" y="37016"/>
              <a:ext cx="251709" cy="221577"/>
            </a:xfrm>
            <a:custGeom>
              <a:avLst/>
              <a:gdLst>
                <a:gd name="connsiteX0" fmla="*/ 251709 w 251709"/>
                <a:gd name="connsiteY0" fmla="*/ 47461 h 221577"/>
                <a:gd name="connsiteX1" fmla="*/ 190946 w 251709"/>
                <a:gd name="connsiteY1" fmla="*/ 221578 h 221577"/>
                <a:gd name="connsiteX2" fmla="*/ 0 w 251709"/>
                <a:gd name="connsiteY2" fmla="*/ 0 h 22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221577">
                  <a:moveTo>
                    <a:pt x="251709" y="47461"/>
                  </a:moveTo>
                  <a:lnTo>
                    <a:pt x="190946" y="221578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ïṩľide"/>
            <p:cNvSpPr/>
            <p:nvPr/>
          </p:nvSpPr>
          <p:spPr>
            <a:xfrm>
              <a:off x="9559442" y="2775483"/>
              <a:ext cx="850570" cy="419481"/>
            </a:xfrm>
            <a:custGeom>
              <a:avLst/>
              <a:gdLst>
                <a:gd name="connsiteX0" fmla="*/ 850570 w 850570"/>
                <a:gd name="connsiteY0" fmla="*/ 364073 h 419481"/>
                <a:gd name="connsiteX1" fmla="*/ 555467 w 850570"/>
                <a:gd name="connsiteY1" fmla="*/ 0 h 419481"/>
                <a:gd name="connsiteX2" fmla="*/ 0 w 850570"/>
                <a:gd name="connsiteY2" fmla="*/ 419481 h 41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0570" h="419481">
                  <a:moveTo>
                    <a:pt x="850570" y="364073"/>
                  </a:moveTo>
                  <a:lnTo>
                    <a:pt x="555467" y="0"/>
                  </a:lnTo>
                  <a:lnTo>
                    <a:pt x="0" y="419481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ŝļîďè"/>
            <p:cNvSpPr/>
            <p:nvPr/>
          </p:nvSpPr>
          <p:spPr>
            <a:xfrm>
              <a:off x="10262460" y="2300593"/>
              <a:ext cx="147551" cy="229525"/>
            </a:xfrm>
            <a:custGeom>
              <a:avLst/>
              <a:gdLst>
                <a:gd name="connsiteX0" fmla="*/ 147552 w 147551"/>
                <a:gd name="connsiteY0" fmla="*/ 174117 h 229525"/>
                <a:gd name="connsiteX1" fmla="*/ 121528 w 147551"/>
                <a:gd name="connsiteY1" fmla="*/ 0 h 229525"/>
                <a:gd name="connsiteX2" fmla="*/ 0 w 147551"/>
                <a:gd name="connsiteY2" fmla="*/ 229526 h 22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51" h="229525">
                  <a:moveTo>
                    <a:pt x="147552" y="174117"/>
                  </a:moveTo>
                  <a:lnTo>
                    <a:pt x="121528" y="0"/>
                  </a:lnTo>
                  <a:lnTo>
                    <a:pt x="0" y="229526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sḷíďe"/>
            <p:cNvSpPr/>
            <p:nvPr/>
          </p:nvSpPr>
          <p:spPr>
            <a:xfrm>
              <a:off x="9729989" y="2189776"/>
              <a:ext cx="413972" cy="459051"/>
            </a:xfrm>
            <a:custGeom>
              <a:avLst/>
              <a:gdLst>
                <a:gd name="connsiteX0" fmla="*/ 413973 w 413972"/>
                <a:gd name="connsiteY0" fmla="*/ 0 h 459051"/>
                <a:gd name="connsiteX1" fmla="*/ 313277 w 413972"/>
                <a:gd name="connsiteY1" fmla="*/ 438646 h 459051"/>
                <a:gd name="connsiteX2" fmla="*/ 0 w 413972"/>
                <a:gd name="connsiteY2" fmla="*/ 459051 h 45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3972" h="459051">
                  <a:moveTo>
                    <a:pt x="413973" y="0"/>
                  </a:moveTo>
                  <a:lnTo>
                    <a:pt x="313277" y="438646"/>
                  </a:lnTo>
                  <a:lnTo>
                    <a:pt x="0" y="45905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ṩlidè"/>
            <p:cNvSpPr/>
            <p:nvPr/>
          </p:nvSpPr>
          <p:spPr>
            <a:xfrm>
              <a:off x="11251928" y="2949600"/>
              <a:ext cx="676994" cy="1005132"/>
            </a:xfrm>
            <a:custGeom>
              <a:avLst/>
              <a:gdLst>
                <a:gd name="connsiteX0" fmla="*/ 676995 w 676994"/>
                <a:gd name="connsiteY0" fmla="*/ 0 h 1005132"/>
                <a:gd name="connsiteX1" fmla="*/ 607576 w 676994"/>
                <a:gd name="connsiteY1" fmla="*/ 1005132 h 1005132"/>
                <a:gd name="connsiteX2" fmla="*/ 0 w 676994"/>
                <a:gd name="connsiteY2" fmla="*/ 379912 h 100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994" h="1005132">
                  <a:moveTo>
                    <a:pt x="676995" y="0"/>
                  </a:moveTo>
                  <a:lnTo>
                    <a:pt x="607576" y="1005132"/>
                  </a:lnTo>
                  <a:lnTo>
                    <a:pt x="0" y="37991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ṩļíḍè"/>
            <p:cNvSpPr/>
            <p:nvPr/>
          </p:nvSpPr>
          <p:spPr>
            <a:xfrm>
              <a:off x="11104376" y="2055229"/>
              <a:ext cx="1345334" cy="1115949"/>
            </a:xfrm>
            <a:custGeom>
              <a:avLst/>
              <a:gdLst>
                <a:gd name="connsiteX0" fmla="*/ 1345335 w 1345334"/>
                <a:gd name="connsiteY0" fmla="*/ 1115950 h 1115949"/>
                <a:gd name="connsiteX1" fmla="*/ 0 w 1345334"/>
                <a:gd name="connsiteY1" fmla="*/ 538190 h 1115949"/>
                <a:gd name="connsiteX2" fmla="*/ 1050232 w 1345334"/>
                <a:gd name="connsiteY2" fmla="*/ 0 h 11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5334" h="1115949">
                  <a:moveTo>
                    <a:pt x="1345335" y="1115950"/>
                  </a:moveTo>
                  <a:lnTo>
                    <a:pt x="0" y="538190"/>
                  </a:lnTo>
                  <a:lnTo>
                    <a:pt x="1050232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iṡlíďê"/>
            <p:cNvSpPr/>
            <p:nvPr/>
          </p:nvSpPr>
          <p:spPr>
            <a:xfrm>
              <a:off x="10449697" y="1390383"/>
              <a:ext cx="1482996" cy="1472131"/>
            </a:xfrm>
            <a:custGeom>
              <a:avLst/>
              <a:gdLst>
                <a:gd name="connsiteX0" fmla="*/ 1482996 w 1482996"/>
                <a:gd name="connsiteY0" fmla="*/ 1198245 h 1472131"/>
                <a:gd name="connsiteX1" fmla="*/ 319087 w 1482996"/>
                <a:gd name="connsiteY1" fmla="*/ 0 h 1472131"/>
                <a:gd name="connsiteX2" fmla="*/ 0 w 1482996"/>
                <a:gd name="connsiteY2" fmla="*/ 1472131 h 147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2996" h="1472131">
                  <a:moveTo>
                    <a:pt x="1482996" y="1198245"/>
                  </a:moveTo>
                  <a:lnTo>
                    <a:pt x="319087" y="0"/>
                  </a:lnTo>
                  <a:lnTo>
                    <a:pt x="0" y="147213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  <a:tileRect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ṣḷïḋé"/>
            <p:cNvSpPr/>
            <p:nvPr/>
          </p:nvSpPr>
          <p:spPr>
            <a:xfrm>
              <a:off x="10253806" y="3337404"/>
              <a:ext cx="451309" cy="625276"/>
            </a:xfrm>
            <a:custGeom>
              <a:avLst/>
              <a:gdLst>
                <a:gd name="connsiteX0" fmla="*/ 451309 w 451309"/>
                <a:gd name="connsiteY0" fmla="*/ 118708 h 625276"/>
                <a:gd name="connsiteX1" fmla="*/ 0 w 451309"/>
                <a:gd name="connsiteY1" fmla="*/ 0 h 625276"/>
                <a:gd name="connsiteX2" fmla="*/ 147552 w 451309"/>
                <a:gd name="connsiteY2" fmla="*/ 625277 h 62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309" h="625276">
                  <a:moveTo>
                    <a:pt x="451309" y="118708"/>
                  </a:moveTo>
                  <a:lnTo>
                    <a:pt x="0" y="0"/>
                  </a:lnTo>
                  <a:lnTo>
                    <a:pt x="147552" y="625277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ïSļiḑé"/>
            <p:cNvSpPr/>
            <p:nvPr/>
          </p:nvSpPr>
          <p:spPr>
            <a:xfrm>
              <a:off x="10924867" y="3479899"/>
              <a:ext cx="518007" cy="831015"/>
            </a:xfrm>
            <a:custGeom>
              <a:avLst/>
              <a:gdLst>
                <a:gd name="connsiteX0" fmla="*/ 76712 w 518007"/>
                <a:gd name="connsiteY0" fmla="*/ 0 h 831015"/>
                <a:gd name="connsiteX1" fmla="*/ 518007 w 518007"/>
                <a:gd name="connsiteY1" fmla="*/ 271181 h 831015"/>
                <a:gd name="connsiteX2" fmla="*/ 0 w 518007"/>
                <a:gd name="connsiteY2" fmla="*/ 831015 h 83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007" h="831015">
                  <a:moveTo>
                    <a:pt x="76712" y="0"/>
                  </a:moveTo>
                  <a:lnTo>
                    <a:pt x="518007" y="271181"/>
                  </a:lnTo>
                  <a:lnTo>
                    <a:pt x="0" y="83101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íṩḷïḓê"/>
            <p:cNvSpPr/>
            <p:nvPr/>
          </p:nvSpPr>
          <p:spPr>
            <a:xfrm>
              <a:off x="10844013" y="2917922"/>
              <a:ext cx="416630" cy="197903"/>
            </a:xfrm>
            <a:custGeom>
              <a:avLst/>
              <a:gdLst>
                <a:gd name="connsiteX0" fmla="*/ 260363 w 416630"/>
                <a:gd name="connsiteY0" fmla="*/ 197904 h 197903"/>
                <a:gd name="connsiteX1" fmla="*/ 416631 w 416630"/>
                <a:gd name="connsiteY1" fmla="*/ 0 h 197903"/>
                <a:gd name="connsiteX2" fmla="*/ 0 w 416630"/>
                <a:gd name="connsiteY2" fmla="*/ 39570 h 1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6630" h="197903">
                  <a:moveTo>
                    <a:pt x="260363" y="197904"/>
                  </a:moveTo>
                  <a:lnTo>
                    <a:pt x="416631" y="0"/>
                  </a:lnTo>
                  <a:lnTo>
                    <a:pt x="0" y="3957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ïŝľïḑé"/>
            <p:cNvSpPr/>
            <p:nvPr/>
          </p:nvSpPr>
          <p:spPr>
            <a:xfrm>
              <a:off x="11477614" y="733484"/>
              <a:ext cx="173575" cy="308664"/>
            </a:xfrm>
            <a:custGeom>
              <a:avLst/>
              <a:gdLst>
                <a:gd name="connsiteX0" fmla="*/ 173576 w 173575"/>
                <a:gd name="connsiteY0" fmla="*/ 71248 h 308664"/>
                <a:gd name="connsiteX1" fmla="*/ 112812 w 173575"/>
                <a:gd name="connsiteY1" fmla="*/ 308665 h 308664"/>
                <a:gd name="connsiteX2" fmla="*/ 0 w 173575"/>
                <a:gd name="connsiteY2" fmla="*/ 0 h 30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575" h="308664">
                  <a:moveTo>
                    <a:pt x="173576" y="71248"/>
                  </a:moveTo>
                  <a:lnTo>
                    <a:pt x="112812" y="3086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îšliḓé"/>
            <p:cNvSpPr/>
            <p:nvPr/>
          </p:nvSpPr>
          <p:spPr>
            <a:xfrm>
              <a:off x="11026243" y="4366323"/>
              <a:ext cx="156267" cy="332394"/>
            </a:xfrm>
            <a:custGeom>
              <a:avLst/>
              <a:gdLst>
                <a:gd name="connsiteX0" fmla="*/ 156268 w 156267"/>
                <a:gd name="connsiteY0" fmla="*/ 87030 h 332394"/>
                <a:gd name="connsiteX1" fmla="*/ 17370 w 156267"/>
                <a:gd name="connsiteY1" fmla="*/ 0 h 332394"/>
                <a:gd name="connsiteX2" fmla="*/ 0 w 156267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267" h="332394">
                  <a:moveTo>
                    <a:pt x="156268" y="87030"/>
                  </a:moveTo>
                  <a:lnTo>
                    <a:pt x="17370" y="0"/>
                  </a:lnTo>
                  <a:lnTo>
                    <a:pt x="0" y="3323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S1ïḓè"/>
            <p:cNvSpPr/>
            <p:nvPr/>
          </p:nvSpPr>
          <p:spPr>
            <a:xfrm rot="13369106">
              <a:off x="11555811" y="4167751"/>
              <a:ext cx="911395" cy="953589"/>
            </a:xfrm>
            <a:custGeom>
              <a:avLst/>
              <a:gdLst>
                <a:gd name="connsiteX0" fmla="*/ 911396 w 911395"/>
                <a:gd name="connsiteY0" fmla="*/ 340343 h 1250553"/>
                <a:gd name="connsiteX1" fmla="*/ 0 w 911395"/>
                <a:gd name="connsiteY1" fmla="*/ 0 h 1250553"/>
                <a:gd name="connsiteX2" fmla="*/ 772498 w 911395"/>
                <a:gd name="connsiteY2" fmla="*/ 1250553 h 1250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1395" h="1250553">
                  <a:moveTo>
                    <a:pt x="911396" y="340343"/>
                  </a:moveTo>
                  <a:lnTo>
                    <a:pt x="0" y="0"/>
                  </a:lnTo>
                  <a:lnTo>
                    <a:pt x="772498" y="1250553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íslîḋe"/>
            <p:cNvSpPr/>
            <p:nvPr/>
          </p:nvSpPr>
          <p:spPr>
            <a:xfrm>
              <a:off x="9550726" y="1865273"/>
              <a:ext cx="312473" cy="340342"/>
            </a:xfrm>
            <a:custGeom>
              <a:avLst/>
              <a:gdLst>
                <a:gd name="connsiteX0" fmla="*/ 312473 w 312473"/>
                <a:gd name="connsiteY0" fmla="*/ 0 h 340342"/>
                <a:gd name="connsiteX1" fmla="*/ 0 w 312473"/>
                <a:gd name="connsiteY1" fmla="*/ 55408 h 340342"/>
                <a:gd name="connsiteX2" fmla="*/ 208315 w 312473"/>
                <a:gd name="connsiteY2" fmla="*/ 340343 h 34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473" h="340342">
                  <a:moveTo>
                    <a:pt x="312473" y="0"/>
                  </a:moveTo>
                  <a:lnTo>
                    <a:pt x="0" y="55408"/>
                  </a:lnTo>
                  <a:lnTo>
                    <a:pt x="208315" y="340343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85185" y="6012617"/>
            <a:ext cx="373763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79554" y="4566299"/>
            <a:ext cx="11054265" cy="558799"/>
          </a:xfrm>
          <a:prstGeom prst="rect">
            <a:avLst/>
          </a:prstGeom>
          <a:noFill/>
        </p:spPr>
        <p:txBody>
          <a:bodyPr tIns="0" bIns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79003" y="2316184"/>
            <a:ext cx="11054816" cy="164407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9003" y="6012617"/>
            <a:ext cx="393856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/>
          <a:srcRect t="11682" r="15717" b="-3961"/>
          <a:stretch>
            <a:fillRect/>
          </a:stretch>
        </p:blipFill>
        <p:spPr>
          <a:xfrm>
            <a:off x="8153654" y="0"/>
            <a:ext cx="4038346" cy="551284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/>
          <a:srcRect l="17479" b="7261"/>
          <a:stretch>
            <a:fillRect/>
          </a:stretch>
        </p:blipFill>
        <p:spPr>
          <a:xfrm>
            <a:off x="0" y="1057669"/>
            <a:ext cx="3737639" cy="580033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570641" y="3792642"/>
            <a:ext cx="4617356" cy="516164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6570641" y="2557076"/>
            <a:ext cx="4617356" cy="11557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924187" y="2106713"/>
            <a:ext cx="3228712" cy="2906067"/>
            <a:chOff x="-875931" y="2538513"/>
            <a:chExt cx="2823626" cy="2906067"/>
          </a:xfrm>
        </p:grpSpPr>
        <p:sp>
          <p:nvSpPr>
            <p:cNvPr id="17" name="ïṣḻïḓê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ï$ļiḍe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îṣ1íḓé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śľiḑe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ṧľíḓê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23" name="iṩlïḓe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ïṣḻîďê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ş1ïďe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îṩļíḋè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š1ïḓe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îṩľîdê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ïṣḻiḑe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7" Type="http://schemas.openxmlformats.org/officeDocument/2006/relationships/theme" Target="../theme/theme2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1234868" y="514547"/>
            <a:ext cx="571238" cy="514154"/>
            <a:chOff x="-875931" y="2538513"/>
            <a:chExt cx="2823626" cy="2906067"/>
          </a:xfrm>
        </p:grpSpPr>
        <p:sp>
          <p:nvSpPr>
            <p:cNvPr id="12" name="ïṩļïďé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ïṧļiḑè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ṡḷîďè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íṥḻiďê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ṧľiďe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7" name="íšlíḋè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iṩlîḑe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ís1îḋe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ṧľîḓê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ŝľïde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ṥḻîḓé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ïṩ1íḑè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.xml"/><Relationship Id="rId2" Type="http://schemas.openxmlformats.org/officeDocument/2006/relationships/themeOverride" Target="../theme/themeOverride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8" Type="http://schemas.openxmlformats.org/officeDocument/2006/relationships/tags" Target="../tags/tag9.x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tags" Target="../tags/tag4.xml"/><Relationship Id="rId21" Type="http://schemas.openxmlformats.org/officeDocument/2006/relationships/notesSlide" Target="../notesSlides/notesSlide2.xml"/><Relationship Id="rId20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9" Type="http://schemas.openxmlformats.org/officeDocument/2006/relationships/tags" Target="../tags/tag20.xml"/><Relationship Id="rId18" Type="http://schemas.openxmlformats.org/officeDocument/2006/relationships/tags" Target="../tags/tag19.xml"/><Relationship Id="rId17" Type="http://schemas.openxmlformats.org/officeDocument/2006/relationships/tags" Target="../tags/tag18.xml"/><Relationship Id="rId16" Type="http://schemas.openxmlformats.org/officeDocument/2006/relationships/tags" Target="../tags/tag17.xml"/><Relationship Id="rId15" Type="http://schemas.openxmlformats.org/officeDocument/2006/relationships/tags" Target="../tags/tag16.xml"/><Relationship Id="rId14" Type="http://schemas.openxmlformats.org/officeDocument/2006/relationships/tags" Target="../tags/tag15.xml"/><Relationship Id="rId13" Type="http://schemas.openxmlformats.org/officeDocument/2006/relationships/tags" Target="../tags/tag14.xml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" Type="http://schemas.openxmlformats.org/officeDocument/2006/relationships/tags" Target="../tags/tag11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0.xml"/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tags" Target="../tags/tag29.xml"/><Relationship Id="rId8" Type="http://schemas.openxmlformats.org/officeDocument/2006/relationships/tags" Target="../tags/tag28.xml"/><Relationship Id="rId7" Type="http://schemas.openxmlformats.org/officeDocument/2006/relationships/tags" Target="../tags/tag27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3" Type="http://schemas.openxmlformats.org/officeDocument/2006/relationships/tags" Target="../tags/tag23.xml"/><Relationship Id="rId27" Type="http://schemas.openxmlformats.org/officeDocument/2006/relationships/notesSlide" Target="../notesSlides/notesSlide6.xml"/><Relationship Id="rId26" Type="http://schemas.openxmlformats.org/officeDocument/2006/relationships/slideLayout" Target="../slideLayouts/slideLayout10.xml"/><Relationship Id="rId25" Type="http://schemas.openxmlformats.org/officeDocument/2006/relationships/tags" Target="../tags/tag45.xml"/><Relationship Id="rId24" Type="http://schemas.openxmlformats.org/officeDocument/2006/relationships/tags" Target="../tags/tag44.xml"/><Relationship Id="rId23" Type="http://schemas.openxmlformats.org/officeDocument/2006/relationships/tags" Target="../tags/tag43.xml"/><Relationship Id="rId22" Type="http://schemas.openxmlformats.org/officeDocument/2006/relationships/tags" Target="../tags/tag42.xml"/><Relationship Id="rId21" Type="http://schemas.openxmlformats.org/officeDocument/2006/relationships/tags" Target="../tags/tag41.xml"/><Relationship Id="rId20" Type="http://schemas.openxmlformats.org/officeDocument/2006/relationships/tags" Target="../tags/tag40.xml"/><Relationship Id="rId2" Type="http://schemas.openxmlformats.org/officeDocument/2006/relationships/tags" Target="../tags/tag22.xml"/><Relationship Id="rId19" Type="http://schemas.openxmlformats.org/officeDocument/2006/relationships/tags" Target="../tags/tag39.xml"/><Relationship Id="rId18" Type="http://schemas.openxmlformats.org/officeDocument/2006/relationships/tags" Target="../tags/tag38.xml"/><Relationship Id="rId17" Type="http://schemas.openxmlformats.org/officeDocument/2006/relationships/tags" Target="../tags/tag37.xml"/><Relationship Id="rId16" Type="http://schemas.openxmlformats.org/officeDocument/2006/relationships/tags" Target="../tags/tag36.xml"/><Relationship Id="rId15" Type="http://schemas.openxmlformats.org/officeDocument/2006/relationships/tags" Target="../tags/tag35.xml"/><Relationship Id="rId14" Type="http://schemas.openxmlformats.org/officeDocument/2006/relationships/tags" Target="../tags/tag34.xml"/><Relationship Id="rId13" Type="http://schemas.openxmlformats.org/officeDocument/2006/relationships/tags" Target="../tags/tag33.xml"/><Relationship Id="rId12" Type="http://schemas.openxmlformats.org/officeDocument/2006/relationships/tags" Target="../tags/tag32.xml"/><Relationship Id="rId11" Type="http://schemas.openxmlformats.org/officeDocument/2006/relationships/tags" Target="../tags/tag31.xml"/><Relationship Id="rId10" Type="http://schemas.openxmlformats.org/officeDocument/2006/relationships/tags" Target="../tags/tag30.xml"/><Relationship Id="rId1" Type="http://schemas.openxmlformats.org/officeDocument/2006/relationships/image" Target="../media/image24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3.xml"/><Relationship Id="rId4" Type="http://schemas.openxmlformats.org/officeDocument/2006/relationships/tags" Target="../tags/tag46.xml"/><Relationship Id="rId3" Type="http://schemas.openxmlformats.org/officeDocument/2006/relationships/image" Target="../media/image26.png"/><Relationship Id="rId2" Type="http://schemas.openxmlformats.org/officeDocument/2006/relationships/image" Target="../media/image25.emf"/><Relationship Id="rId1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1î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Sḷíḓ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西安邮电大学：  陈莉君    贺东升</a:t>
            </a:r>
            <a:endParaRPr lang="zh-CN" altLang="en-US" dirty="0"/>
          </a:p>
        </p:txBody>
      </p:sp>
      <p:sp>
        <p:nvSpPr>
          <p:cNvPr id="4" name="íṥļïḓè"/>
          <p:cNvSpPr>
            <a:spLocks noGrp="1"/>
          </p:cNvSpPr>
          <p:nvPr>
            <p:ph type="ctrTitle"/>
          </p:nvPr>
        </p:nvSpPr>
        <p:spPr>
          <a:xfrm>
            <a:off x="579638" y="1945344"/>
            <a:ext cx="11054816" cy="1644079"/>
          </a:xfrm>
        </p:spPr>
        <p:txBody>
          <a:bodyPr>
            <a:normAutofit/>
          </a:bodyPr>
          <a:lstStyle/>
          <a:p>
            <a:r>
              <a:rPr lang="zh-CN" sz="48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基于</a:t>
            </a:r>
            <a:r>
              <a:rPr lang="en-US" altLang="zh-CN" sz="48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BPF</a:t>
            </a:r>
            <a:r>
              <a:rPr lang="zh-CN" altLang="en-US" sz="48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的</a:t>
            </a:r>
            <a:r>
              <a:rPr lang="zh-CN" sz="48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系统性能优化</a:t>
            </a:r>
            <a:endParaRPr lang="en-US" altLang="zh-CN" sz="4800" dirty="0">
              <a:gradFill>
                <a:gsLst>
                  <a:gs pos="50000">
                    <a:schemeClr val="bg1"/>
                  </a:gs>
                  <a:gs pos="100000">
                    <a:srgbClr val="09025E"/>
                  </a:gs>
                </a:gsLst>
                <a:lin ang="5400000" scaled="1"/>
              </a:gra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latin typeface="+mj-ea"/>
                <a:cs typeface="+mj-ea"/>
                <a:sym typeface="+mn-ea"/>
              </a:rPr>
              <a:t>基于</a:t>
            </a:r>
            <a:r>
              <a:rPr lang="en-US" altLang="zh-CN">
                <a:latin typeface="+mj-ea"/>
                <a:cs typeface="+mj-ea"/>
                <a:sym typeface="+mn-ea"/>
              </a:rPr>
              <a:t>BPF</a:t>
            </a:r>
            <a:r>
              <a:rPr lang="zh-CN" altLang="en-US">
                <a:latin typeface="+mj-ea"/>
                <a:cs typeface="+mj-ea"/>
                <a:sym typeface="+mn-ea"/>
              </a:rPr>
              <a:t>的显微镜开源项目（</a:t>
            </a:r>
            <a:r>
              <a:rPr lang="en-US" altLang="zh-CN">
                <a:latin typeface="+mj-ea"/>
                <a:cs typeface="+mj-ea"/>
                <a:sym typeface="+mn-ea"/>
              </a:rPr>
              <a:t>LMP</a:t>
            </a:r>
            <a:r>
              <a:rPr lang="zh-CN" altLang="en-US">
                <a:latin typeface="+mj-ea"/>
                <a:cs typeface="+mj-ea"/>
                <a:sym typeface="+mn-ea"/>
              </a:rPr>
              <a:t>）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3" name="文本框 122"/>
          <p:cNvSpPr txBox="1"/>
          <p:nvPr/>
        </p:nvSpPr>
        <p:spPr>
          <a:xfrm>
            <a:off x="1183005" y="1120775"/>
            <a:ext cx="10173970" cy="1476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nux显微镜，意即像用显微镜一样观察Linux内核。该项目基于Linux内核的BPF技术，把用户态编程和内核态编程打通，为性能优化，系统安全，深入调试内核打造一个可视化平台</a:t>
            </a:r>
            <a:r>
              <a:rPr 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该项目该项目参加了由软件所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OpenEuler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举办的暑期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020/202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有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5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个子项目。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/>
            <a:endParaRPr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/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" name="截屏2020-10-11 下午12.08.48.png" descr="截屏2020-10-11 下午12.08.48.pn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35785" y="2040890"/>
            <a:ext cx="7439660" cy="3997325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4" name="文本框 3"/>
          <p:cNvSpPr txBox="1"/>
          <p:nvPr/>
        </p:nvSpPr>
        <p:spPr>
          <a:xfrm>
            <a:off x="4252595" y="6323330"/>
            <a:ext cx="41325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https://github.com/linuxkerneltravel/lmp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inux系统性能监控可视化工具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23" name="文本框 122"/>
          <p:cNvSpPr txBox="1"/>
          <p:nvPr/>
        </p:nvSpPr>
        <p:spPr>
          <a:xfrm>
            <a:off x="1183005" y="1120775"/>
            <a:ext cx="10173970" cy="521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</a:t>
            </a:r>
            <a:r>
              <a:rPr sz="2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020年第五届中国创新挑战赛（天津）现场赛一等奖</a:t>
            </a:r>
            <a:endParaRPr lang="zh-CN" altLang="en-US" sz="2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2965" y="1938020"/>
            <a:ext cx="4785360" cy="298259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7120" y="1938020"/>
            <a:ext cx="4899660" cy="298513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PF</a:t>
            </a:r>
            <a:r>
              <a:rPr lang="zh-CN" altLang="en-US"/>
              <a:t>技术直播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01520" y="1176020"/>
            <a:ext cx="8203565" cy="453009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PF</a:t>
            </a:r>
            <a:r>
              <a:rPr lang="zh-CN" altLang="en-US"/>
              <a:t>技术直播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4380" y="1628140"/>
            <a:ext cx="4380865" cy="306641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5245" y="1571625"/>
            <a:ext cx="6817360" cy="371538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ï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Sļiḓé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altLang="zh-CN" sz="1600" dirty="0"/>
              <a:t>BPF Example</a:t>
            </a:r>
            <a:endParaRPr lang="en-US" altLang="zh-CN" sz="1600" dirty="0"/>
          </a:p>
        </p:txBody>
      </p:sp>
      <p:sp>
        <p:nvSpPr>
          <p:cNvPr id="14" name="íṧľïḓè"/>
          <p:cNvSpPr>
            <a:spLocks noGrp="1"/>
          </p:cNvSpPr>
          <p:nvPr>
            <p:ph type="body" sz="quarter" idx="10"/>
          </p:nvPr>
        </p:nvSpPr>
        <p:spPr>
          <a:xfrm>
            <a:off x="6570641" y="2547551"/>
            <a:ext cx="4617356" cy="1155700"/>
          </a:xfrm>
        </p:spPr>
        <p:txBody>
          <a:bodyPr/>
          <a:lstStyle/>
          <a:p>
            <a:r>
              <a:rPr lang="en-US" altLang="zh-CN" dirty="0"/>
              <a:t>BPF</a:t>
            </a:r>
            <a:r>
              <a:rPr lang="zh-CN" altLang="en-US" dirty="0"/>
              <a:t>性能观测举例</a:t>
            </a:r>
            <a:endParaRPr lang="zh-CN" altLang="en-US" dirty="0"/>
          </a:p>
        </p:txBody>
      </p:sp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/>
              <a:t>内存性能指标</a:t>
            </a:r>
            <a:endParaRPr lang="zh-CN" altLang="zh-CN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rcRect l="1579" t="4920"/>
          <a:stretch>
            <a:fillRect/>
          </a:stretch>
        </p:blipFill>
        <p:spPr>
          <a:xfrm>
            <a:off x="2831465" y="1184275"/>
            <a:ext cx="6805930" cy="555879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61783"/>
            <a:ext cx="10850563" cy="1028699"/>
          </a:xfrm>
        </p:spPr>
        <p:txBody>
          <a:bodyPr/>
          <a:lstStyle/>
          <a:p>
            <a:r>
              <a:rPr lang="en-US" altLang="zh-CN" smtClean="0"/>
              <a:t>BPF</a:t>
            </a:r>
            <a:r>
              <a:rPr lang="zh-CN" altLang="en-US" smtClean="0"/>
              <a:t>应用介绍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1087394" y="1235676"/>
            <a:ext cx="8093676" cy="2120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mtClean="0"/>
              <a:t>1.</a:t>
            </a:r>
            <a:r>
              <a:rPr lang="zh-CN" altLang="en-US" smtClean="0"/>
              <a:t>缺页异常的原理简单介绍</a:t>
            </a:r>
            <a:endParaRPr lang="en-US" altLang="zh-CN" smtClean="0"/>
          </a:p>
          <a:p>
            <a:pPr>
              <a:lnSpc>
                <a:spcPct val="150000"/>
              </a:lnSpc>
            </a:pPr>
            <a:r>
              <a:rPr lang="en-US" altLang="zh-CN" smtClean="0"/>
              <a:t>2.BPF</a:t>
            </a:r>
            <a:r>
              <a:rPr lang="zh-CN" altLang="en-US" smtClean="0"/>
              <a:t>的</a:t>
            </a:r>
            <a:r>
              <a:rPr lang="en-US" altLang="zh-CN" smtClean="0"/>
              <a:t>Kprobe</a:t>
            </a:r>
            <a:r>
              <a:rPr lang="zh-CN" altLang="en-US" smtClean="0"/>
              <a:t>和</a:t>
            </a:r>
            <a:r>
              <a:rPr lang="en-US" altLang="zh-CN" smtClean="0"/>
              <a:t>kretprobe</a:t>
            </a:r>
            <a:r>
              <a:rPr lang="zh-CN" altLang="en-US" smtClean="0"/>
              <a:t>类型：探测一个函数的执行时间</a:t>
            </a:r>
            <a:endParaRPr lang="en-US" altLang="zh-CN" smtClean="0"/>
          </a:p>
          <a:p>
            <a:pPr>
              <a:lnSpc>
                <a:spcPct val="150000"/>
              </a:lnSpc>
            </a:pPr>
            <a:r>
              <a:rPr lang="en-US" altLang="zh-CN" smtClean="0"/>
              <a:t>3.</a:t>
            </a:r>
            <a:r>
              <a:rPr lang="zh-CN" altLang="en-US" smtClean="0"/>
              <a:t>以监控</a:t>
            </a:r>
            <a:r>
              <a:rPr lang="en-US" altLang="zh-CN" smtClean="0"/>
              <a:t>NUMA Balancing</a:t>
            </a:r>
            <a:r>
              <a:rPr lang="zh-CN" altLang="en-US" smtClean="0"/>
              <a:t>为例</a:t>
            </a:r>
            <a:endParaRPr lang="en-US" altLang="zh-CN" smtClean="0"/>
          </a:p>
          <a:p>
            <a:pPr>
              <a:lnSpc>
                <a:spcPct val="150000"/>
              </a:lnSpc>
            </a:pPr>
            <a:r>
              <a:rPr lang="en-US" altLang="zh-CN" smtClean="0"/>
              <a:t>4.BPF</a:t>
            </a:r>
            <a:r>
              <a:rPr lang="zh-CN" altLang="en-US" smtClean="0"/>
              <a:t>程序举例</a:t>
            </a:r>
            <a:endParaRPr lang="en-US" altLang="zh-CN" smtClean="0"/>
          </a:p>
          <a:p>
            <a:pPr>
              <a:lnSpc>
                <a:spcPct val="150000"/>
              </a:lnSpc>
            </a:pPr>
            <a:r>
              <a:rPr lang="en-US" altLang="zh-CN" smtClean="0"/>
              <a:t>5.</a:t>
            </a:r>
            <a:r>
              <a:rPr lang="zh-CN" altLang="en-US" smtClean="0"/>
              <a:t>运行结果分析</a:t>
            </a:r>
            <a:endParaRPr lang="zh-CN" alt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缺页异常处理的逻辑意义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6" name="文本框 25"/>
          <p:cNvSpPr txBox="1">
            <a:spLocks noChangeArrowheads="1"/>
          </p:cNvSpPr>
          <p:nvPr/>
        </p:nvSpPr>
        <p:spPr bwMode="auto">
          <a:xfrm>
            <a:off x="3212758" y="2409428"/>
            <a:ext cx="1850779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/>
            <a:r>
              <a:rPr lang="zh-CN" altLang="en-US" sz="1800" smtClean="0">
                <a:solidFill>
                  <a:schemeClr val="accent1"/>
                </a:solidFill>
                <a:latin typeface="+mj-ea"/>
              </a:rPr>
              <a:t>指令执行中断</a:t>
            </a:r>
            <a:endParaRPr lang="zh-CN" altLang="en-US" sz="1800">
              <a:solidFill>
                <a:schemeClr val="accent1"/>
              </a:solidFill>
              <a:latin typeface="+mj-ea"/>
            </a:endParaRPr>
          </a:p>
        </p:txBody>
      </p:sp>
      <p:sp>
        <p:nvSpPr>
          <p:cNvPr id="27" name="文本框 26"/>
          <p:cNvSpPr txBox="1">
            <a:spLocks noChangeArrowheads="1"/>
          </p:cNvSpPr>
          <p:nvPr/>
        </p:nvSpPr>
        <p:spPr bwMode="auto">
          <a:xfrm>
            <a:off x="7182048" y="2409428"/>
            <a:ext cx="174230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/>
            <a:r>
              <a:rPr lang="zh-CN" altLang="en-US" sz="1800" smtClean="0">
                <a:solidFill>
                  <a:schemeClr val="accent1"/>
                </a:solidFill>
                <a:latin typeface="+mj-ea"/>
              </a:rPr>
              <a:t>指令</a:t>
            </a:r>
            <a:r>
              <a:rPr lang="zh-CN" altLang="en-US" sz="1800" smtClean="0">
                <a:solidFill>
                  <a:schemeClr val="accent1"/>
                </a:solidFill>
                <a:latin typeface="+mj-ea"/>
                <a:sym typeface="+mn-ea"/>
              </a:rPr>
              <a:t>恢复</a:t>
            </a:r>
            <a:r>
              <a:rPr lang="zh-CN" altLang="en-US" sz="1800" smtClean="0">
                <a:solidFill>
                  <a:schemeClr val="accent1"/>
                </a:solidFill>
                <a:latin typeface="+mj-ea"/>
              </a:rPr>
              <a:t>执行</a:t>
            </a:r>
            <a:endParaRPr lang="zh-CN" altLang="en-US" sz="1800">
              <a:solidFill>
                <a:schemeClr val="accent1"/>
              </a:solidFill>
              <a:latin typeface="+mj-ea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1775305" y="3362977"/>
            <a:ext cx="9522460" cy="1705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mtClean="0">
                <a:solidFill>
                  <a:schemeClr val="accent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缺页中断处理时间越短，指令就越快的恢复执行，应用程序的响应也就更快。</a:t>
            </a:r>
            <a:endParaRPr lang="en-US" altLang="zh-CN">
              <a:solidFill>
                <a:schemeClr val="accent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mtClean="0">
                <a:solidFill>
                  <a:schemeClr val="accent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反之，如果缺页异常处理时间过长，可能导致应用程序出现卡顿现象。</a:t>
            </a:r>
            <a:endParaRPr lang="en-US" altLang="zh-CN" smtClean="0">
              <a:solidFill>
                <a:schemeClr val="accent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mtClean="0">
                <a:solidFill>
                  <a:schemeClr val="accent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另外，传统工具只能获取缺页的次数，无法计算缺页异常处理时间。而</a:t>
            </a:r>
            <a:r>
              <a:rPr lang="en-US" altLang="zh-CN" smtClean="0">
                <a:solidFill>
                  <a:schemeClr val="accent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BPF</a:t>
            </a:r>
            <a:r>
              <a:rPr lang="zh-CN" altLang="en-US" smtClean="0">
                <a:solidFill>
                  <a:schemeClr val="accent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程序既可以统计次数，同时可以计算处理延时。</a:t>
            </a:r>
            <a:endParaRPr lang="en-US" altLang="zh-CN" smtClean="0">
              <a:solidFill>
                <a:schemeClr val="accent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4" name="燕尾形 3"/>
          <p:cNvSpPr/>
          <p:nvPr/>
        </p:nvSpPr>
        <p:spPr>
          <a:xfrm>
            <a:off x="3212758" y="1693988"/>
            <a:ext cx="1850780" cy="491126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bg1"/>
                </a:solidFill>
              </a:rPr>
              <a:t>指令执行</a:t>
            </a:r>
            <a:endParaRPr lang="zh-CN" altLang="en-US" sz="1600">
              <a:solidFill>
                <a:schemeClr val="bg1"/>
              </a:solidFill>
            </a:endParaRPr>
          </a:p>
        </p:txBody>
      </p:sp>
      <p:sp>
        <p:nvSpPr>
          <p:cNvPr id="13" name="燕尾形 12"/>
          <p:cNvSpPr/>
          <p:nvPr/>
        </p:nvSpPr>
        <p:spPr>
          <a:xfrm>
            <a:off x="7182048" y="1693989"/>
            <a:ext cx="1742302" cy="50679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bg1"/>
                </a:solidFill>
              </a:rPr>
              <a:t>指令执行</a:t>
            </a:r>
            <a:endParaRPr lang="zh-CN" altLang="en-US" sz="1600">
              <a:solidFill>
                <a:schemeClr val="bg1"/>
              </a:solidFill>
            </a:endParaRPr>
          </a:p>
        </p:txBody>
      </p:sp>
      <p:sp>
        <p:nvSpPr>
          <p:cNvPr id="14" name="燕尾形 13"/>
          <p:cNvSpPr/>
          <p:nvPr/>
        </p:nvSpPr>
        <p:spPr>
          <a:xfrm>
            <a:off x="5215938" y="1693989"/>
            <a:ext cx="1966110" cy="510116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bg1"/>
                </a:solidFill>
              </a:rPr>
              <a:t>缺页异常处理</a:t>
            </a:r>
            <a:endParaRPr lang="zh-CN" altLang="en-US" sz="160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Linux</a:t>
            </a:r>
            <a:r>
              <a:rPr lang="zh-CN" altLang="en-US" smtClean="0"/>
              <a:t>内核缺页异常处理过程</a:t>
            </a:r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87" y="1396315"/>
            <a:ext cx="9982267" cy="4198336"/>
          </a:xfrm>
          <a:prstGeom prst="rect">
            <a:avLst/>
          </a:prstGeom>
        </p:spPr>
      </p:pic>
      <p:sp>
        <p:nvSpPr>
          <p:cNvPr id="11" name="上箭头 10"/>
          <p:cNvSpPr/>
          <p:nvPr/>
        </p:nvSpPr>
        <p:spPr>
          <a:xfrm>
            <a:off x="9551773" y="5539176"/>
            <a:ext cx="395416" cy="423090"/>
          </a:xfrm>
          <a:prstGeom prst="upArrow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8773297" y="5962266"/>
            <a:ext cx="2162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smtClean="0"/>
              <a:t>可选择的</a:t>
            </a:r>
            <a:r>
              <a:rPr lang="en-US" altLang="zh-CN" sz="1600" smtClean="0"/>
              <a:t>eBPF</a:t>
            </a:r>
            <a:r>
              <a:rPr lang="zh-CN" altLang="en-US" sz="1600" smtClean="0"/>
              <a:t>监控点</a:t>
            </a:r>
            <a:endParaRPr lang="zh-CN" altLang="en-US" sz="1600"/>
          </a:p>
        </p:txBody>
      </p:sp>
      <p:sp>
        <p:nvSpPr>
          <p:cNvPr id="50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监控</a:t>
            </a:r>
            <a:r>
              <a:rPr lang="en-US" altLang="zh-CN" smtClean="0"/>
              <a:t>NUMA</a:t>
            </a:r>
            <a:r>
              <a:rPr lang="zh-CN" altLang="en-US"/>
              <a:t> </a:t>
            </a:r>
            <a:r>
              <a:rPr lang="en-US" altLang="zh-CN" smtClean="0"/>
              <a:t>Balancing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669924" y="1297460"/>
            <a:ext cx="436193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smtClean="0"/>
              <a:t>NUMA Balancing</a:t>
            </a:r>
            <a:r>
              <a:rPr lang="zh-CN" altLang="en-US" sz="1600" smtClean="0"/>
              <a:t>原理</a:t>
            </a:r>
            <a:endParaRPr lang="en-US" altLang="zh-CN" sz="160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smtClean="0"/>
              <a:t>进程迁移</a:t>
            </a:r>
            <a:endParaRPr lang="en-US" altLang="zh-CN" sz="160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smtClean="0"/>
              <a:t>内存迁移</a:t>
            </a:r>
            <a:endParaRPr lang="en-US" altLang="zh-CN" sz="1600" smtClean="0"/>
          </a:p>
        </p:txBody>
      </p:sp>
      <p:sp>
        <p:nvSpPr>
          <p:cNvPr id="35" name="文本框 34"/>
          <p:cNvSpPr txBox="1"/>
          <p:nvPr/>
        </p:nvSpPr>
        <p:spPr>
          <a:xfrm>
            <a:off x="669924" y="3288592"/>
            <a:ext cx="57185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smtClean="0"/>
              <a:t>监控的意义</a:t>
            </a:r>
            <a:endParaRPr lang="en-US" altLang="zh-CN" sz="160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smtClean="0"/>
              <a:t>迁移内存对内存密集型程序影响较重</a:t>
            </a:r>
            <a:endParaRPr lang="en-US" altLang="zh-CN" sz="160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smtClean="0"/>
              <a:t>可通过监控迁移的次数和时间对性能影响进行量化分析</a:t>
            </a:r>
            <a:endParaRPr lang="en-US" altLang="zh-CN" sz="1600" smtClean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687" y="1188330"/>
            <a:ext cx="4876800" cy="420052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什么是性能优化？</a:t>
            </a:r>
            <a:r>
              <a:rPr kumimoji="1" lang="en-US" altLang="zh-CN"/>
              <a:t>-</a:t>
            </a:r>
            <a:r>
              <a:rPr kumimoji="1" lang="zh-CN" altLang="en-US">
                <a:solidFill>
                  <a:srgbClr val="FD7623"/>
                </a:solidFill>
              </a:rPr>
              <a:t>时间</a:t>
            </a:r>
            <a:endParaRPr kumimoji="1" lang="zh-CN" altLang="en-US">
              <a:solidFill>
                <a:srgbClr val="FD7623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2322830" y="1559560"/>
            <a:ext cx="7973695" cy="3565525"/>
            <a:chOff x="3631" y="2925"/>
            <a:chExt cx="12557" cy="5615"/>
          </a:xfrm>
        </p:grpSpPr>
        <p:cxnSp>
          <p:nvCxnSpPr>
            <p:cNvPr id="24583" name="直接连接符 1"/>
            <p:cNvCxnSpPr/>
            <p:nvPr>
              <p:custDataLst>
                <p:tags r:id="rId1"/>
              </p:custDataLst>
            </p:nvPr>
          </p:nvCxnSpPr>
          <p:spPr>
            <a:xfrm rot="10800000">
              <a:off x="4293" y="6860"/>
              <a:ext cx="0" cy="1308"/>
            </a:xfrm>
            <a:prstGeom prst="line">
              <a:avLst/>
            </a:prstGeom>
            <a:ln w="25400" cap="flat" cmpd="sng">
              <a:solidFill>
                <a:srgbClr val="69A35B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12" name="椭圆 11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4101" y="8155"/>
              <a:ext cx="385" cy="385"/>
            </a:xfrm>
            <a:prstGeom prst="ellipse">
              <a:avLst/>
            </a:prstGeom>
            <a:solidFill>
              <a:srgbClr val="69A35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3" name="任意多边形 12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3631" y="5750"/>
              <a:ext cx="1325" cy="1470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69A35B"/>
            </a:solidFill>
            <a:ln w="12700" cap="flat" cmpd="sng" algn="ctr">
              <a:solidFill>
                <a:srgbClr val="FDFDFD"/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24586" name="直接连接符 4"/>
            <p:cNvCxnSpPr/>
            <p:nvPr>
              <p:custDataLst>
                <p:tags r:id="rId4"/>
              </p:custDataLst>
            </p:nvPr>
          </p:nvCxnSpPr>
          <p:spPr>
            <a:xfrm rot="10800000">
              <a:off x="10861" y="6035"/>
              <a:ext cx="0" cy="1965"/>
            </a:xfrm>
            <a:prstGeom prst="line">
              <a:avLst/>
            </a:prstGeom>
            <a:ln w="25400" cap="flat" cmpd="sng">
              <a:solidFill>
                <a:srgbClr val="3498DB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20" name="椭圆 19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10668" y="7998"/>
              <a:ext cx="385" cy="383"/>
            </a:xfrm>
            <a:prstGeom prst="ellipse">
              <a:avLst/>
            </a:prstGeom>
            <a:solidFill>
              <a:srgbClr val="349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1" name="任意多边形 20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10198" y="4590"/>
              <a:ext cx="1325" cy="1470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3498DB"/>
            </a:solidFill>
            <a:ln w="12700" cap="flat" cmpd="sng" algn="ctr">
              <a:solidFill>
                <a:srgbClr val="FDFDFD"/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24589" name="直接连接符 24"/>
            <p:cNvCxnSpPr/>
            <p:nvPr>
              <p:custDataLst>
                <p:tags r:id="rId7"/>
              </p:custDataLst>
            </p:nvPr>
          </p:nvCxnSpPr>
          <p:spPr>
            <a:xfrm rot="10800000">
              <a:off x="7576" y="6573"/>
              <a:ext cx="0" cy="1425"/>
            </a:xfrm>
            <a:prstGeom prst="line">
              <a:avLst/>
            </a:prstGeom>
            <a:ln w="25400" cap="flat" cmpd="sng">
              <a:solidFill>
                <a:srgbClr val="1AA3AA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28" name="椭圆 27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7383" y="7993"/>
              <a:ext cx="385" cy="385"/>
            </a:xfrm>
            <a:prstGeom prst="ellipse">
              <a:avLst/>
            </a:prstGeom>
            <a:solidFill>
              <a:srgbClr val="1AA3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7" name="任意多边形 36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6916" y="5138"/>
              <a:ext cx="1323" cy="1470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1AA3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24592" name="曲线连接符 27"/>
            <p:cNvCxnSpPr/>
            <p:nvPr>
              <p:custDataLst>
                <p:tags r:id="rId10"/>
              </p:custDataLst>
            </p:nvPr>
          </p:nvCxnSpPr>
          <p:spPr>
            <a:xfrm rot="19200000" flipV="1">
              <a:off x="13633" y="5360"/>
              <a:ext cx="1088" cy="1008"/>
            </a:xfrm>
            <a:prstGeom prst="curvedConnector3">
              <a:avLst>
                <a:gd name="adj1" fmla="val 50000"/>
              </a:avLst>
            </a:prstGeom>
            <a:ln w="25400" cap="flat" cmpd="sng">
              <a:solidFill>
                <a:srgbClr val="FFC000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38" name="任意多边形 37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13436" y="3863"/>
              <a:ext cx="1323" cy="1473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4598" name="wifi-cloud_7298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13933" y="4388"/>
              <a:ext cx="420" cy="422"/>
            </a:xfrm>
            <a:custGeom>
              <a:avLst/>
              <a:gdLst/>
              <a:ahLst/>
              <a:cxnLst>
                <a:cxn ang="0">
                  <a:pos x="124999" y="79669"/>
                </a:cxn>
                <a:cxn ang="0">
                  <a:pos x="204459" y="145376"/>
                </a:cxn>
                <a:cxn ang="0">
                  <a:pos x="205921" y="145335"/>
                </a:cxn>
                <a:cxn ang="0">
                  <a:pos x="267304" y="206662"/>
                </a:cxn>
                <a:cxn ang="0">
                  <a:pos x="205921" y="267988"/>
                </a:cxn>
                <a:cxn ang="0">
                  <a:pos x="40664" y="267988"/>
                </a:cxn>
                <a:cxn ang="0">
                  <a:pos x="0" y="223940"/>
                </a:cxn>
                <a:cxn ang="0">
                  <a:pos x="44117" y="179892"/>
                </a:cxn>
                <a:cxn ang="0">
                  <a:pos x="46636" y="180136"/>
                </a:cxn>
                <a:cxn ang="0">
                  <a:pos x="44117" y="160423"/>
                </a:cxn>
                <a:cxn ang="0">
                  <a:pos x="124999" y="79669"/>
                </a:cxn>
                <a:cxn ang="0">
                  <a:pos x="175930" y="43161"/>
                </a:cxn>
                <a:cxn ang="0">
                  <a:pos x="223147" y="90298"/>
                </a:cxn>
                <a:cxn ang="0">
                  <a:pos x="209819" y="103644"/>
                </a:cxn>
                <a:cxn ang="0">
                  <a:pos x="196491" y="90298"/>
                </a:cxn>
                <a:cxn ang="0">
                  <a:pos x="175930" y="69813"/>
                </a:cxn>
                <a:cxn ang="0">
                  <a:pos x="162602" y="56507"/>
                </a:cxn>
                <a:cxn ang="0">
                  <a:pos x="175930" y="43161"/>
                </a:cxn>
                <a:cxn ang="0">
                  <a:pos x="177793" y="0"/>
                </a:cxn>
                <a:cxn ang="0">
                  <a:pos x="177834" y="0"/>
                </a:cxn>
                <a:cxn ang="0">
                  <a:pos x="266402" y="88413"/>
                </a:cxn>
                <a:cxn ang="0">
                  <a:pos x="253076" y="101716"/>
                </a:cxn>
                <a:cxn ang="0">
                  <a:pos x="253035" y="101716"/>
                </a:cxn>
                <a:cxn ang="0">
                  <a:pos x="239709" y="88413"/>
                </a:cxn>
                <a:cxn ang="0">
                  <a:pos x="177834" y="26645"/>
                </a:cxn>
                <a:cxn ang="0">
                  <a:pos x="177793" y="26645"/>
                </a:cxn>
                <a:cxn ang="0">
                  <a:pos x="164468" y="13302"/>
                </a:cxn>
                <a:cxn ang="0">
                  <a:pos x="177793" y="0"/>
                </a:cxn>
              </a:cxnLst>
              <a:pathLst>
                <a:path w="606580" h="608133">
                  <a:moveTo>
                    <a:pt x="283655" y="180789"/>
                  </a:moveTo>
                  <a:cubicBezTo>
                    <a:pt x="373351" y="180789"/>
                    <a:pt x="447929" y="245034"/>
                    <a:pt x="463969" y="329895"/>
                  </a:cubicBezTo>
                  <a:cubicBezTo>
                    <a:pt x="465075" y="329895"/>
                    <a:pt x="466089" y="329803"/>
                    <a:pt x="467288" y="329803"/>
                  </a:cubicBezTo>
                  <a:cubicBezTo>
                    <a:pt x="544263" y="329803"/>
                    <a:pt x="606580" y="392022"/>
                    <a:pt x="606580" y="468968"/>
                  </a:cubicBezTo>
                  <a:cubicBezTo>
                    <a:pt x="606580" y="545730"/>
                    <a:pt x="544263" y="608133"/>
                    <a:pt x="467288" y="608133"/>
                  </a:cubicBezTo>
                  <a:lnTo>
                    <a:pt x="92278" y="608133"/>
                  </a:lnTo>
                  <a:cubicBezTo>
                    <a:pt x="40101" y="604636"/>
                    <a:pt x="0" y="561101"/>
                    <a:pt x="0" y="508177"/>
                  </a:cubicBezTo>
                  <a:cubicBezTo>
                    <a:pt x="0" y="452953"/>
                    <a:pt x="44802" y="408221"/>
                    <a:pt x="100113" y="408221"/>
                  </a:cubicBezTo>
                  <a:cubicBezTo>
                    <a:pt x="102049" y="408221"/>
                    <a:pt x="103893" y="408589"/>
                    <a:pt x="105829" y="408774"/>
                  </a:cubicBezTo>
                  <a:cubicBezTo>
                    <a:pt x="102234" y="394415"/>
                    <a:pt x="100113" y="379505"/>
                    <a:pt x="100113" y="364042"/>
                  </a:cubicBezTo>
                  <a:cubicBezTo>
                    <a:pt x="100113" y="262797"/>
                    <a:pt x="182251" y="180789"/>
                    <a:pt x="283655" y="180789"/>
                  </a:cubicBezTo>
                  <a:close/>
                  <a:moveTo>
                    <a:pt x="399230" y="97945"/>
                  </a:moveTo>
                  <a:cubicBezTo>
                    <a:pt x="458336" y="97945"/>
                    <a:pt x="506377" y="145997"/>
                    <a:pt x="506377" y="204910"/>
                  </a:cubicBezTo>
                  <a:cubicBezTo>
                    <a:pt x="506377" y="221664"/>
                    <a:pt x="492822" y="235195"/>
                    <a:pt x="476133" y="235195"/>
                  </a:cubicBezTo>
                  <a:cubicBezTo>
                    <a:pt x="459443" y="235195"/>
                    <a:pt x="445888" y="221664"/>
                    <a:pt x="445888" y="204910"/>
                  </a:cubicBezTo>
                  <a:cubicBezTo>
                    <a:pt x="445888" y="179227"/>
                    <a:pt x="424957" y="158424"/>
                    <a:pt x="399230" y="158424"/>
                  </a:cubicBezTo>
                  <a:cubicBezTo>
                    <a:pt x="382541" y="158424"/>
                    <a:pt x="368986" y="144892"/>
                    <a:pt x="368986" y="128230"/>
                  </a:cubicBezTo>
                  <a:cubicBezTo>
                    <a:pt x="368986" y="111477"/>
                    <a:pt x="382541" y="97945"/>
                    <a:pt x="399230" y="97945"/>
                  </a:cubicBezTo>
                  <a:close/>
                  <a:moveTo>
                    <a:pt x="403459" y="0"/>
                  </a:moveTo>
                  <a:lnTo>
                    <a:pt x="403552" y="0"/>
                  </a:lnTo>
                  <a:cubicBezTo>
                    <a:pt x="514276" y="0"/>
                    <a:pt x="604441" y="90009"/>
                    <a:pt x="604533" y="200633"/>
                  </a:cubicBezTo>
                  <a:cubicBezTo>
                    <a:pt x="604533" y="217291"/>
                    <a:pt x="590981" y="230820"/>
                    <a:pt x="574294" y="230820"/>
                  </a:cubicBezTo>
                  <a:lnTo>
                    <a:pt x="574201" y="230820"/>
                  </a:lnTo>
                  <a:cubicBezTo>
                    <a:pt x="557514" y="230820"/>
                    <a:pt x="543962" y="217291"/>
                    <a:pt x="543962" y="200633"/>
                  </a:cubicBezTo>
                  <a:cubicBezTo>
                    <a:pt x="543962" y="123325"/>
                    <a:pt x="480902" y="60466"/>
                    <a:pt x="403552" y="60466"/>
                  </a:cubicBezTo>
                  <a:lnTo>
                    <a:pt x="403459" y="60466"/>
                  </a:lnTo>
                  <a:cubicBezTo>
                    <a:pt x="386772" y="60466"/>
                    <a:pt x="373220" y="46937"/>
                    <a:pt x="373220" y="30187"/>
                  </a:cubicBezTo>
                  <a:cubicBezTo>
                    <a:pt x="373220" y="13529"/>
                    <a:pt x="386772" y="0"/>
                    <a:pt x="403459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p>
              <a:endParaRPr lang="zh-CN" altLang="en-US"/>
            </a:p>
          </p:txBody>
        </p:sp>
        <p:sp>
          <p:nvSpPr>
            <p:cNvPr id="24599" name="statistical-chart_64023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10651" y="5090"/>
              <a:ext cx="420" cy="473"/>
            </a:xfrm>
            <a:custGeom>
              <a:avLst/>
              <a:gdLst/>
              <a:ahLst/>
              <a:cxnLst>
                <a:cxn ang="0">
                  <a:pos x="8043" y="150126"/>
                </a:cxn>
                <a:cxn ang="0">
                  <a:pos x="65739" y="150126"/>
                </a:cxn>
                <a:cxn ang="0">
                  <a:pos x="73783" y="158157"/>
                </a:cxn>
                <a:cxn ang="0">
                  <a:pos x="73783" y="291836"/>
                </a:cxn>
                <a:cxn ang="0">
                  <a:pos x="65739" y="299866"/>
                </a:cxn>
                <a:cxn ang="0">
                  <a:pos x="8043" y="299866"/>
                </a:cxn>
                <a:cxn ang="0">
                  <a:pos x="0" y="291836"/>
                </a:cxn>
                <a:cxn ang="0">
                  <a:pos x="0" y="158157"/>
                </a:cxn>
                <a:cxn ang="0">
                  <a:pos x="8043" y="150126"/>
                </a:cxn>
                <a:cxn ang="0">
                  <a:pos x="201564" y="92816"/>
                </a:cxn>
                <a:cxn ang="0">
                  <a:pos x="259260" y="92816"/>
                </a:cxn>
                <a:cxn ang="0">
                  <a:pos x="267304" y="100847"/>
                </a:cxn>
                <a:cxn ang="0">
                  <a:pos x="267304" y="291836"/>
                </a:cxn>
                <a:cxn ang="0">
                  <a:pos x="259260" y="299866"/>
                </a:cxn>
                <a:cxn ang="0">
                  <a:pos x="201564" y="299866"/>
                </a:cxn>
                <a:cxn ang="0">
                  <a:pos x="193520" y="291836"/>
                </a:cxn>
                <a:cxn ang="0">
                  <a:pos x="193520" y="100847"/>
                </a:cxn>
                <a:cxn ang="0">
                  <a:pos x="201564" y="92816"/>
                </a:cxn>
                <a:cxn ang="0">
                  <a:pos x="104821" y="0"/>
                </a:cxn>
                <a:cxn ang="0">
                  <a:pos x="162517" y="0"/>
                </a:cxn>
                <a:cxn ang="0">
                  <a:pos x="170561" y="8031"/>
                </a:cxn>
                <a:cxn ang="0">
                  <a:pos x="170561" y="291835"/>
                </a:cxn>
                <a:cxn ang="0">
                  <a:pos x="162517" y="299866"/>
                </a:cxn>
                <a:cxn ang="0">
                  <a:pos x="104821" y="299866"/>
                </a:cxn>
                <a:cxn ang="0">
                  <a:pos x="96777" y="291835"/>
                </a:cxn>
                <a:cxn ang="0">
                  <a:pos x="96777" y="8031"/>
                </a:cxn>
                <a:cxn ang="0">
                  <a:pos x="104821" y="0"/>
                </a:cxn>
              </a:cxnLst>
              <a:pathLst>
                <a:path w="538132" h="603687">
                  <a:moveTo>
                    <a:pt x="16193" y="302232"/>
                  </a:moveTo>
                  <a:lnTo>
                    <a:pt x="132346" y="302232"/>
                  </a:lnTo>
                  <a:cubicBezTo>
                    <a:pt x="141235" y="302232"/>
                    <a:pt x="148540" y="309525"/>
                    <a:pt x="148540" y="318399"/>
                  </a:cubicBezTo>
                  <a:lnTo>
                    <a:pt x="148540" y="587520"/>
                  </a:lnTo>
                  <a:cubicBezTo>
                    <a:pt x="148540" y="596394"/>
                    <a:pt x="141235" y="603687"/>
                    <a:pt x="132346" y="603687"/>
                  </a:cubicBezTo>
                  <a:lnTo>
                    <a:pt x="16193" y="603687"/>
                  </a:lnTo>
                  <a:cubicBezTo>
                    <a:pt x="7305" y="603687"/>
                    <a:pt x="0" y="596394"/>
                    <a:pt x="0" y="587520"/>
                  </a:cubicBezTo>
                  <a:lnTo>
                    <a:pt x="0" y="318399"/>
                  </a:lnTo>
                  <a:cubicBezTo>
                    <a:pt x="0" y="309525"/>
                    <a:pt x="7305" y="302232"/>
                    <a:pt x="16193" y="302232"/>
                  </a:cubicBezTo>
                  <a:close/>
                  <a:moveTo>
                    <a:pt x="405786" y="186857"/>
                  </a:moveTo>
                  <a:lnTo>
                    <a:pt x="521939" y="186857"/>
                  </a:lnTo>
                  <a:cubicBezTo>
                    <a:pt x="530827" y="186857"/>
                    <a:pt x="538132" y="194029"/>
                    <a:pt x="538132" y="203025"/>
                  </a:cubicBezTo>
                  <a:lnTo>
                    <a:pt x="538132" y="587520"/>
                  </a:lnTo>
                  <a:cubicBezTo>
                    <a:pt x="538132" y="596393"/>
                    <a:pt x="530827" y="603687"/>
                    <a:pt x="521939" y="603687"/>
                  </a:cubicBezTo>
                  <a:lnTo>
                    <a:pt x="405786" y="603687"/>
                  </a:lnTo>
                  <a:cubicBezTo>
                    <a:pt x="396897" y="603687"/>
                    <a:pt x="389592" y="596393"/>
                    <a:pt x="389592" y="587520"/>
                  </a:cubicBezTo>
                  <a:lnTo>
                    <a:pt x="389592" y="203025"/>
                  </a:lnTo>
                  <a:cubicBezTo>
                    <a:pt x="389592" y="194029"/>
                    <a:pt x="396897" y="186857"/>
                    <a:pt x="405786" y="186857"/>
                  </a:cubicBezTo>
                  <a:close/>
                  <a:moveTo>
                    <a:pt x="211024" y="0"/>
                  </a:moveTo>
                  <a:lnTo>
                    <a:pt x="327177" y="0"/>
                  </a:lnTo>
                  <a:cubicBezTo>
                    <a:pt x="336066" y="0"/>
                    <a:pt x="343371" y="7294"/>
                    <a:pt x="343371" y="16168"/>
                  </a:cubicBezTo>
                  <a:lnTo>
                    <a:pt x="343371" y="587519"/>
                  </a:lnTo>
                  <a:cubicBezTo>
                    <a:pt x="343371" y="596393"/>
                    <a:pt x="336066" y="603687"/>
                    <a:pt x="327177" y="603687"/>
                  </a:cubicBezTo>
                  <a:lnTo>
                    <a:pt x="211024" y="603687"/>
                  </a:lnTo>
                  <a:cubicBezTo>
                    <a:pt x="202136" y="603687"/>
                    <a:pt x="194831" y="596393"/>
                    <a:pt x="194831" y="587519"/>
                  </a:cubicBezTo>
                  <a:lnTo>
                    <a:pt x="194831" y="16168"/>
                  </a:lnTo>
                  <a:cubicBezTo>
                    <a:pt x="194831" y="7294"/>
                    <a:pt x="202136" y="0"/>
                    <a:pt x="211024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p>
              <a:endParaRPr lang="zh-CN" altLang="en-US"/>
            </a:p>
          </p:txBody>
        </p:sp>
        <p:sp>
          <p:nvSpPr>
            <p:cNvPr id="24600" name="placeholder_286118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7366" y="5628"/>
              <a:ext cx="422" cy="492"/>
            </a:xfrm>
            <a:custGeom>
              <a:avLst/>
              <a:gdLst/>
              <a:ahLst/>
              <a:cxnLst>
                <a:cxn ang="0">
                  <a:pos x="204606" y="200913"/>
                </a:cxn>
                <a:cxn ang="0">
                  <a:pos x="213438" y="187133"/>
                </a:cxn>
                <a:cxn ang="0">
                  <a:pos x="237358" y="103580"/>
                </a:cxn>
                <a:cxn ang="0">
                  <a:pos x="133629" y="0"/>
                </a:cxn>
                <a:cxn ang="0">
                  <a:pos x="29899" y="103580"/>
                </a:cxn>
                <a:cxn ang="0">
                  <a:pos x="62697" y="200867"/>
                </a:cxn>
                <a:cxn ang="0">
                  <a:pos x="0" y="252910"/>
                </a:cxn>
                <a:cxn ang="0">
                  <a:pos x="43193" y="298476"/>
                </a:cxn>
                <a:cxn ang="0">
                  <a:pos x="133629" y="313588"/>
                </a:cxn>
                <a:cxn ang="0">
                  <a:pos x="224064" y="298476"/>
                </a:cxn>
                <a:cxn ang="0">
                  <a:pos x="267304" y="252910"/>
                </a:cxn>
                <a:cxn ang="0">
                  <a:pos x="204606" y="200913"/>
                </a:cxn>
                <a:cxn ang="0">
                  <a:pos x="133629" y="71242"/>
                </a:cxn>
                <a:cxn ang="0">
                  <a:pos x="166058" y="103580"/>
                </a:cxn>
                <a:cxn ang="0">
                  <a:pos x="133629" y="135963"/>
                </a:cxn>
                <a:cxn ang="0">
                  <a:pos x="101245" y="103580"/>
                </a:cxn>
                <a:cxn ang="0">
                  <a:pos x="133629" y="71242"/>
                </a:cxn>
                <a:cxn ang="0">
                  <a:pos x="215048" y="275968"/>
                </a:cxn>
                <a:cxn ang="0">
                  <a:pos x="133629" y="289289"/>
                </a:cxn>
                <a:cxn ang="0">
                  <a:pos x="52255" y="275968"/>
                </a:cxn>
                <a:cxn ang="0">
                  <a:pos x="24287" y="252910"/>
                </a:cxn>
                <a:cxn ang="0">
                  <a:pos x="79073" y="221904"/>
                </a:cxn>
                <a:cxn ang="0">
                  <a:pos x="127005" y="264944"/>
                </a:cxn>
                <a:cxn ang="0">
                  <a:pos x="133629" y="266965"/>
                </a:cxn>
                <a:cxn ang="0">
                  <a:pos x="140298" y="264944"/>
                </a:cxn>
                <a:cxn ang="0">
                  <a:pos x="168634" y="242069"/>
                </a:cxn>
                <a:cxn ang="0">
                  <a:pos x="188230" y="221904"/>
                </a:cxn>
                <a:cxn ang="0">
                  <a:pos x="243016" y="252910"/>
                </a:cxn>
                <a:cxn ang="0">
                  <a:pos x="215048" y="275968"/>
                </a:cxn>
              </a:cxnLst>
              <a:pathLst>
                <a:path w="5811" h="6827">
                  <a:moveTo>
                    <a:pt x="4448" y="4374"/>
                  </a:moveTo>
                  <a:cubicBezTo>
                    <a:pt x="4517" y="4275"/>
                    <a:pt x="4581" y="4175"/>
                    <a:pt x="4640" y="4074"/>
                  </a:cubicBezTo>
                  <a:cubicBezTo>
                    <a:pt x="4985" y="3483"/>
                    <a:pt x="5160" y="2871"/>
                    <a:pt x="5160" y="2255"/>
                  </a:cubicBezTo>
                  <a:cubicBezTo>
                    <a:pt x="5160" y="1012"/>
                    <a:pt x="4149" y="0"/>
                    <a:pt x="2905" y="0"/>
                  </a:cubicBezTo>
                  <a:cubicBezTo>
                    <a:pt x="1662" y="0"/>
                    <a:pt x="650" y="1012"/>
                    <a:pt x="650" y="2255"/>
                  </a:cubicBezTo>
                  <a:cubicBezTo>
                    <a:pt x="650" y="2973"/>
                    <a:pt x="895" y="3696"/>
                    <a:pt x="1363" y="4373"/>
                  </a:cubicBezTo>
                  <a:cubicBezTo>
                    <a:pt x="501" y="4604"/>
                    <a:pt x="0" y="5014"/>
                    <a:pt x="0" y="5506"/>
                  </a:cubicBezTo>
                  <a:cubicBezTo>
                    <a:pt x="0" y="5903"/>
                    <a:pt x="333" y="6256"/>
                    <a:pt x="939" y="6498"/>
                  </a:cubicBezTo>
                  <a:cubicBezTo>
                    <a:pt x="1469" y="6710"/>
                    <a:pt x="2167" y="6827"/>
                    <a:pt x="2905" y="6827"/>
                  </a:cubicBezTo>
                  <a:cubicBezTo>
                    <a:pt x="3644" y="6827"/>
                    <a:pt x="4342" y="6710"/>
                    <a:pt x="4871" y="6498"/>
                  </a:cubicBezTo>
                  <a:cubicBezTo>
                    <a:pt x="5477" y="6256"/>
                    <a:pt x="5811" y="5903"/>
                    <a:pt x="5811" y="5506"/>
                  </a:cubicBezTo>
                  <a:cubicBezTo>
                    <a:pt x="5811" y="5014"/>
                    <a:pt x="5310" y="4604"/>
                    <a:pt x="4448" y="4374"/>
                  </a:cubicBezTo>
                  <a:close/>
                  <a:moveTo>
                    <a:pt x="2905" y="1551"/>
                  </a:moveTo>
                  <a:cubicBezTo>
                    <a:pt x="3294" y="1551"/>
                    <a:pt x="3610" y="1866"/>
                    <a:pt x="3610" y="2255"/>
                  </a:cubicBezTo>
                  <a:cubicBezTo>
                    <a:pt x="3610" y="2644"/>
                    <a:pt x="3294" y="2960"/>
                    <a:pt x="2905" y="2960"/>
                  </a:cubicBezTo>
                  <a:cubicBezTo>
                    <a:pt x="2516" y="2960"/>
                    <a:pt x="2201" y="2644"/>
                    <a:pt x="2201" y="2255"/>
                  </a:cubicBezTo>
                  <a:cubicBezTo>
                    <a:pt x="2201" y="1866"/>
                    <a:pt x="2516" y="1551"/>
                    <a:pt x="2905" y="1551"/>
                  </a:cubicBezTo>
                  <a:close/>
                  <a:moveTo>
                    <a:pt x="4675" y="6008"/>
                  </a:moveTo>
                  <a:cubicBezTo>
                    <a:pt x="4207" y="6195"/>
                    <a:pt x="3578" y="6298"/>
                    <a:pt x="2905" y="6298"/>
                  </a:cubicBezTo>
                  <a:cubicBezTo>
                    <a:pt x="2233" y="6298"/>
                    <a:pt x="1604" y="6195"/>
                    <a:pt x="1136" y="6008"/>
                  </a:cubicBezTo>
                  <a:cubicBezTo>
                    <a:pt x="766" y="5860"/>
                    <a:pt x="528" y="5663"/>
                    <a:pt x="528" y="5506"/>
                  </a:cubicBezTo>
                  <a:cubicBezTo>
                    <a:pt x="528" y="5295"/>
                    <a:pt x="944" y="4996"/>
                    <a:pt x="1719" y="4831"/>
                  </a:cubicBezTo>
                  <a:cubicBezTo>
                    <a:pt x="2232" y="5420"/>
                    <a:pt x="2739" y="5754"/>
                    <a:pt x="2761" y="5768"/>
                  </a:cubicBezTo>
                  <a:cubicBezTo>
                    <a:pt x="2805" y="5797"/>
                    <a:pt x="2855" y="5812"/>
                    <a:pt x="2905" y="5812"/>
                  </a:cubicBezTo>
                  <a:cubicBezTo>
                    <a:pt x="2956" y="5812"/>
                    <a:pt x="3006" y="5797"/>
                    <a:pt x="3050" y="5768"/>
                  </a:cubicBezTo>
                  <a:cubicBezTo>
                    <a:pt x="3061" y="5761"/>
                    <a:pt x="3327" y="5586"/>
                    <a:pt x="3666" y="5270"/>
                  </a:cubicBezTo>
                  <a:cubicBezTo>
                    <a:pt x="3819" y="5128"/>
                    <a:pt x="3961" y="4982"/>
                    <a:pt x="4092" y="4831"/>
                  </a:cubicBezTo>
                  <a:cubicBezTo>
                    <a:pt x="4866" y="4997"/>
                    <a:pt x="5283" y="5295"/>
                    <a:pt x="5283" y="5506"/>
                  </a:cubicBezTo>
                  <a:cubicBezTo>
                    <a:pt x="5283" y="5663"/>
                    <a:pt x="5044" y="5860"/>
                    <a:pt x="4675" y="600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p>
              <a:endParaRPr lang="zh-CN" altLang="en-US"/>
            </a:p>
          </p:txBody>
        </p:sp>
        <p:sp>
          <p:nvSpPr>
            <p:cNvPr id="24601" name="settings_320253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083" y="6275"/>
              <a:ext cx="420" cy="420"/>
            </a:xfrm>
            <a:custGeom>
              <a:avLst/>
              <a:gdLst/>
              <a:ahLst/>
              <a:cxnLst>
                <a:cxn ang="0">
                  <a:pos x="133652" y="122337"/>
                </a:cxn>
                <a:cxn ang="0">
                  <a:pos x="144781" y="133450"/>
                </a:cxn>
                <a:cxn ang="0">
                  <a:pos x="133652" y="144563"/>
                </a:cxn>
                <a:cxn ang="0">
                  <a:pos x="122523" y="133450"/>
                </a:cxn>
                <a:cxn ang="0">
                  <a:pos x="133652" y="122337"/>
                </a:cxn>
                <a:cxn ang="0">
                  <a:pos x="133632" y="111179"/>
                </a:cxn>
                <a:cxn ang="0">
                  <a:pos x="111357" y="133430"/>
                </a:cxn>
                <a:cxn ang="0">
                  <a:pos x="133632" y="155682"/>
                </a:cxn>
                <a:cxn ang="0">
                  <a:pos x="155907" y="133430"/>
                </a:cxn>
                <a:cxn ang="0">
                  <a:pos x="133632" y="111179"/>
                </a:cxn>
                <a:cxn ang="0">
                  <a:pos x="133632" y="88966"/>
                </a:cxn>
                <a:cxn ang="0">
                  <a:pos x="178181" y="133430"/>
                </a:cxn>
                <a:cxn ang="0">
                  <a:pos x="133632" y="177933"/>
                </a:cxn>
                <a:cxn ang="0">
                  <a:pos x="89121" y="133430"/>
                </a:cxn>
                <a:cxn ang="0">
                  <a:pos x="133632" y="88966"/>
                </a:cxn>
                <a:cxn ang="0">
                  <a:pos x="133632" y="66734"/>
                </a:cxn>
                <a:cxn ang="0">
                  <a:pos x="66835" y="133430"/>
                </a:cxn>
                <a:cxn ang="0">
                  <a:pos x="133632" y="200165"/>
                </a:cxn>
                <a:cxn ang="0">
                  <a:pos x="200468" y="133430"/>
                </a:cxn>
                <a:cxn ang="0">
                  <a:pos x="133632" y="66734"/>
                </a:cxn>
                <a:cxn ang="0">
                  <a:pos x="111353" y="0"/>
                </a:cxn>
                <a:cxn ang="0">
                  <a:pos x="155911" y="0"/>
                </a:cxn>
                <a:cxn ang="0">
                  <a:pos x="167070" y="11102"/>
                </a:cxn>
                <a:cxn ang="0">
                  <a:pos x="167070" y="27444"/>
                </a:cxn>
                <a:cxn ang="0">
                  <a:pos x="185041" y="34950"/>
                </a:cxn>
                <a:cxn ang="0">
                  <a:pos x="196631" y="23378"/>
                </a:cxn>
                <a:cxn ang="0">
                  <a:pos x="212410" y="23378"/>
                </a:cxn>
                <a:cxn ang="0">
                  <a:pos x="243890" y="54810"/>
                </a:cxn>
                <a:cxn ang="0">
                  <a:pos x="243890" y="70526"/>
                </a:cxn>
                <a:cxn ang="0">
                  <a:pos x="232300" y="82099"/>
                </a:cxn>
                <a:cxn ang="0">
                  <a:pos x="239818" y="100082"/>
                </a:cxn>
                <a:cxn ang="0">
                  <a:pos x="256145" y="100082"/>
                </a:cxn>
                <a:cxn ang="0">
                  <a:pos x="267304" y="111185"/>
                </a:cxn>
                <a:cxn ang="0">
                  <a:pos x="267304" y="155675"/>
                </a:cxn>
                <a:cxn ang="0">
                  <a:pos x="256145" y="166817"/>
                </a:cxn>
                <a:cxn ang="0">
                  <a:pos x="239818" y="166817"/>
                </a:cxn>
                <a:cxn ang="0">
                  <a:pos x="232300" y="184762"/>
                </a:cxn>
                <a:cxn ang="0">
                  <a:pos x="243890" y="196334"/>
                </a:cxn>
                <a:cxn ang="0">
                  <a:pos x="243890" y="212089"/>
                </a:cxn>
                <a:cxn ang="0">
                  <a:pos x="212410" y="243521"/>
                </a:cxn>
                <a:cxn ang="0">
                  <a:pos x="196631" y="243521"/>
                </a:cxn>
                <a:cxn ang="0">
                  <a:pos x="185041" y="231949"/>
                </a:cxn>
                <a:cxn ang="0">
                  <a:pos x="167070" y="239416"/>
                </a:cxn>
                <a:cxn ang="0">
                  <a:pos x="167070" y="255758"/>
                </a:cxn>
                <a:cxn ang="0">
                  <a:pos x="155911" y="266900"/>
                </a:cxn>
                <a:cxn ang="0">
                  <a:pos x="111353" y="266900"/>
                </a:cxn>
                <a:cxn ang="0">
                  <a:pos x="100234" y="255758"/>
                </a:cxn>
                <a:cxn ang="0">
                  <a:pos x="100234" y="239416"/>
                </a:cxn>
                <a:cxn ang="0">
                  <a:pos x="82223" y="231949"/>
                </a:cxn>
                <a:cxn ang="0">
                  <a:pos x="70633" y="243521"/>
                </a:cxn>
                <a:cxn ang="0">
                  <a:pos x="54894" y="243521"/>
                </a:cxn>
                <a:cxn ang="0">
                  <a:pos x="23414" y="212089"/>
                </a:cxn>
                <a:cxn ang="0">
                  <a:pos x="23414" y="196334"/>
                </a:cxn>
                <a:cxn ang="0">
                  <a:pos x="34964" y="184762"/>
                </a:cxn>
                <a:cxn ang="0">
                  <a:pos x="27486" y="166817"/>
                </a:cxn>
                <a:cxn ang="0">
                  <a:pos x="11119" y="166817"/>
                </a:cxn>
                <a:cxn ang="0">
                  <a:pos x="0" y="155675"/>
                </a:cxn>
                <a:cxn ang="0">
                  <a:pos x="0" y="111185"/>
                </a:cxn>
                <a:cxn ang="0">
                  <a:pos x="11119" y="100082"/>
                </a:cxn>
                <a:cxn ang="0">
                  <a:pos x="27486" y="100082"/>
                </a:cxn>
                <a:cxn ang="0">
                  <a:pos x="34964" y="82099"/>
                </a:cxn>
                <a:cxn ang="0">
                  <a:pos x="23414" y="70526"/>
                </a:cxn>
                <a:cxn ang="0">
                  <a:pos x="23414" y="54810"/>
                </a:cxn>
                <a:cxn ang="0">
                  <a:pos x="54894" y="23378"/>
                </a:cxn>
                <a:cxn ang="0">
                  <a:pos x="70633" y="23378"/>
                </a:cxn>
                <a:cxn ang="0">
                  <a:pos x="82223" y="34950"/>
                </a:cxn>
                <a:cxn ang="0">
                  <a:pos x="100234" y="27444"/>
                </a:cxn>
                <a:cxn ang="0">
                  <a:pos x="100234" y="11102"/>
                </a:cxn>
                <a:cxn ang="0">
                  <a:pos x="111353" y="0"/>
                </a:cxn>
              </a:cxnLst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p>
              <a:endParaRPr lang="zh-CN" altLang="en-US"/>
            </a:p>
          </p:txBody>
        </p:sp>
        <p:sp>
          <p:nvSpPr>
            <p:cNvPr id="49" name="任意多边形 48"/>
            <p:cNvSpPr/>
            <p:nvPr>
              <p:custDataLst>
                <p:tags r:id="rId16"/>
              </p:custDataLst>
            </p:nvPr>
          </p:nvSpPr>
          <p:spPr bwMode="auto">
            <a:xfrm>
              <a:off x="4971" y="5335"/>
              <a:ext cx="1375" cy="1710"/>
            </a:xfrm>
            <a:custGeom>
              <a:avLst/>
              <a:gdLst>
                <a:gd name="T0" fmla="*/ 276 w 310"/>
                <a:gd name="T1" fmla="*/ 353 h 385"/>
                <a:gd name="T2" fmla="*/ 253 w 310"/>
                <a:gd name="T3" fmla="*/ 325 h 385"/>
                <a:gd name="T4" fmla="*/ 246 w 310"/>
                <a:gd name="T5" fmla="*/ 228 h 385"/>
                <a:gd name="T6" fmla="*/ 246 w 310"/>
                <a:gd name="T7" fmla="*/ 158 h 385"/>
                <a:gd name="T8" fmla="*/ 245 w 310"/>
                <a:gd name="T9" fmla="*/ 100 h 385"/>
                <a:gd name="T10" fmla="*/ 209 w 310"/>
                <a:gd name="T11" fmla="*/ 52 h 385"/>
                <a:gd name="T12" fmla="*/ 121 w 310"/>
                <a:gd name="T13" fmla="*/ 44 h 385"/>
                <a:gd name="T14" fmla="*/ 71 w 310"/>
                <a:gd name="T15" fmla="*/ 73 h 385"/>
                <a:gd name="T16" fmla="*/ 58 w 310"/>
                <a:gd name="T17" fmla="*/ 145 h 385"/>
                <a:gd name="T18" fmla="*/ 58 w 310"/>
                <a:gd name="T19" fmla="*/ 204 h 385"/>
                <a:gd name="T20" fmla="*/ 54 w 310"/>
                <a:gd name="T21" fmla="*/ 308 h 385"/>
                <a:gd name="T22" fmla="*/ 51 w 310"/>
                <a:gd name="T23" fmla="*/ 332 h 385"/>
                <a:gd name="T24" fmla="*/ 28 w 310"/>
                <a:gd name="T25" fmla="*/ 355 h 385"/>
                <a:gd name="T26" fmla="*/ 16 w 310"/>
                <a:gd name="T27" fmla="*/ 375 h 385"/>
                <a:gd name="T28" fmla="*/ 43 w 310"/>
                <a:gd name="T29" fmla="*/ 363 h 385"/>
                <a:gd name="T30" fmla="*/ 67 w 310"/>
                <a:gd name="T31" fmla="*/ 381 h 385"/>
                <a:gd name="T32" fmla="*/ 64 w 310"/>
                <a:gd name="T33" fmla="*/ 371 h 385"/>
                <a:gd name="T34" fmla="*/ 75 w 310"/>
                <a:gd name="T35" fmla="*/ 326 h 385"/>
                <a:gd name="T36" fmla="*/ 85 w 310"/>
                <a:gd name="T37" fmla="*/ 236 h 385"/>
                <a:gd name="T38" fmla="*/ 92 w 310"/>
                <a:gd name="T39" fmla="*/ 165 h 385"/>
                <a:gd name="T40" fmla="*/ 94 w 310"/>
                <a:gd name="T41" fmla="*/ 130 h 385"/>
                <a:gd name="T42" fmla="*/ 115 w 310"/>
                <a:gd name="T43" fmla="*/ 137 h 385"/>
                <a:gd name="T44" fmla="*/ 99 w 310"/>
                <a:gd name="T45" fmla="*/ 212 h 385"/>
                <a:gd name="T46" fmla="*/ 106 w 310"/>
                <a:gd name="T47" fmla="*/ 272 h 385"/>
                <a:gd name="T48" fmla="*/ 97 w 310"/>
                <a:gd name="T49" fmla="*/ 317 h 385"/>
                <a:gd name="T50" fmla="*/ 125 w 310"/>
                <a:gd name="T51" fmla="*/ 350 h 385"/>
                <a:gd name="T52" fmla="*/ 133 w 310"/>
                <a:gd name="T53" fmla="*/ 289 h 385"/>
                <a:gd name="T54" fmla="*/ 130 w 310"/>
                <a:gd name="T55" fmla="*/ 258 h 385"/>
                <a:gd name="T56" fmla="*/ 148 w 310"/>
                <a:gd name="T57" fmla="*/ 221 h 385"/>
                <a:gd name="T58" fmla="*/ 161 w 310"/>
                <a:gd name="T59" fmla="*/ 209 h 385"/>
                <a:gd name="T60" fmla="*/ 172 w 310"/>
                <a:gd name="T61" fmla="*/ 301 h 385"/>
                <a:gd name="T62" fmla="*/ 179 w 310"/>
                <a:gd name="T63" fmla="*/ 341 h 385"/>
                <a:gd name="T64" fmla="*/ 212 w 310"/>
                <a:gd name="T65" fmla="*/ 322 h 385"/>
                <a:gd name="T66" fmla="*/ 221 w 310"/>
                <a:gd name="T67" fmla="*/ 269 h 385"/>
                <a:gd name="T68" fmla="*/ 235 w 310"/>
                <a:gd name="T69" fmla="*/ 337 h 385"/>
                <a:gd name="T70" fmla="*/ 239 w 310"/>
                <a:gd name="T71" fmla="*/ 372 h 385"/>
                <a:gd name="T72" fmla="*/ 251 w 310"/>
                <a:gd name="T73" fmla="*/ 369 h 385"/>
                <a:gd name="T74" fmla="*/ 278 w 310"/>
                <a:gd name="T75" fmla="*/ 377 h 385"/>
                <a:gd name="T76" fmla="*/ 295 w 310"/>
                <a:gd name="T77" fmla="*/ 370 h 385"/>
                <a:gd name="T78" fmla="*/ 204 w 310"/>
                <a:gd name="T79" fmla="*/ 130 h 385"/>
                <a:gd name="T80" fmla="*/ 211 w 310"/>
                <a:gd name="T81" fmla="*/ 142 h 385"/>
                <a:gd name="T82" fmla="*/ 221 w 310"/>
                <a:gd name="T83" fmla="*/ 268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10" h="385">
                  <a:moveTo>
                    <a:pt x="295" y="370"/>
                  </a:moveTo>
                  <a:cubicBezTo>
                    <a:pt x="285" y="370"/>
                    <a:pt x="278" y="355"/>
                    <a:pt x="276" y="353"/>
                  </a:cubicBezTo>
                  <a:cubicBezTo>
                    <a:pt x="274" y="351"/>
                    <a:pt x="276" y="348"/>
                    <a:pt x="272" y="345"/>
                  </a:cubicBezTo>
                  <a:cubicBezTo>
                    <a:pt x="267" y="342"/>
                    <a:pt x="254" y="332"/>
                    <a:pt x="253" y="325"/>
                  </a:cubicBezTo>
                  <a:cubicBezTo>
                    <a:pt x="252" y="319"/>
                    <a:pt x="248" y="289"/>
                    <a:pt x="249" y="281"/>
                  </a:cubicBezTo>
                  <a:cubicBezTo>
                    <a:pt x="250" y="273"/>
                    <a:pt x="245" y="235"/>
                    <a:pt x="246" y="228"/>
                  </a:cubicBezTo>
                  <a:cubicBezTo>
                    <a:pt x="247" y="221"/>
                    <a:pt x="243" y="212"/>
                    <a:pt x="243" y="201"/>
                  </a:cubicBezTo>
                  <a:cubicBezTo>
                    <a:pt x="243" y="190"/>
                    <a:pt x="247" y="164"/>
                    <a:pt x="246" y="158"/>
                  </a:cubicBezTo>
                  <a:cubicBezTo>
                    <a:pt x="246" y="152"/>
                    <a:pt x="241" y="139"/>
                    <a:pt x="241" y="133"/>
                  </a:cubicBezTo>
                  <a:cubicBezTo>
                    <a:pt x="242" y="127"/>
                    <a:pt x="246" y="112"/>
                    <a:pt x="245" y="100"/>
                  </a:cubicBezTo>
                  <a:cubicBezTo>
                    <a:pt x="244" y="89"/>
                    <a:pt x="235" y="73"/>
                    <a:pt x="227" y="68"/>
                  </a:cubicBezTo>
                  <a:cubicBezTo>
                    <a:pt x="219" y="63"/>
                    <a:pt x="209" y="52"/>
                    <a:pt x="209" y="52"/>
                  </a:cubicBezTo>
                  <a:cubicBezTo>
                    <a:pt x="201" y="41"/>
                    <a:pt x="186" y="42"/>
                    <a:pt x="186" y="42"/>
                  </a:cubicBezTo>
                  <a:cubicBezTo>
                    <a:pt x="148" y="0"/>
                    <a:pt x="121" y="44"/>
                    <a:pt x="121" y="44"/>
                  </a:cubicBezTo>
                  <a:cubicBezTo>
                    <a:pt x="112" y="40"/>
                    <a:pt x="98" y="54"/>
                    <a:pt x="93" y="58"/>
                  </a:cubicBezTo>
                  <a:cubicBezTo>
                    <a:pt x="88" y="62"/>
                    <a:pt x="84" y="66"/>
                    <a:pt x="71" y="73"/>
                  </a:cubicBezTo>
                  <a:cubicBezTo>
                    <a:pt x="58" y="79"/>
                    <a:pt x="58" y="106"/>
                    <a:pt x="61" y="115"/>
                  </a:cubicBezTo>
                  <a:cubicBezTo>
                    <a:pt x="63" y="124"/>
                    <a:pt x="61" y="135"/>
                    <a:pt x="58" y="145"/>
                  </a:cubicBezTo>
                  <a:cubicBezTo>
                    <a:pt x="55" y="157"/>
                    <a:pt x="59" y="165"/>
                    <a:pt x="59" y="171"/>
                  </a:cubicBezTo>
                  <a:cubicBezTo>
                    <a:pt x="59" y="177"/>
                    <a:pt x="61" y="199"/>
                    <a:pt x="58" y="204"/>
                  </a:cubicBezTo>
                  <a:cubicBezTo>
                    <a:pt x="55" y="210"/>
                    <a:pt x="57" y="227"/>
                    <a:pt x="55" y="233"/>
                  </a:cubicBezTo>
                  <a:cubicBezTo>
                    <a:pt x="53" y="238"/>
                    <a:pt x="54" y="301"/>
                    <a:pt x="54" y="308"/>
                  </a:cubicBezTo>
                  <a:cubicBezTo>
                    <a:pt x="54" y="314"/>
                    <a:pt x="55" y="320"/>
                    <a:pt x="53" y="323"/>
                  </a:cubicBezTo>
                  <a:cubicBezTo>
                    <a:pt x="51" y="326"/>
                    <a:pt x="53" y="330"/>
                    <a:pt x="51" y="332"/>
                  </a:cubicBezTo>
                  <a:cubicBezTo>
                    <a:pt x="50" y="334"/>
                    <a:pt x="41" y="340"/>
                    <a:pt x="34" y="343"/>
                  </a:cubicBezTo>
                  <a:cubicBezTo>
                    <a:pt x="27" y="346"/>
                    <a:pt x="30" y="352"/>
                    <a:pt x="28" y="355"/>
                  </a:cubicBezTo>
                  <a:cubicBezTo>
                    <a:pt x="26" y="358"/>
                    <a:pt x="24" y="367"/>
                    <a:pt x="22" y="371"/>
                  </a:cubicBezTo>
                  <a:cubicBezTo>
                    <a:pt x="21" y="375"/>
                    <a:pt x="16" y="375"/>
                    <a:pt x="16" y="375"/>
                  </a:cubicBezTo>
                  <a:cubicBezTo>
                    <a:pt x="0" y="381"/>
                    <a:pt x="25" y="382"/>
                    <a:pt x="29" y="380"/>
                  </a:cubicBezTo>
                  <a:cubicBezTo>
                    <a:pt x="33" y="378"/>
                    <a:pt x="43" y="363"/>
                    <a:pt x="43" y="363"/>
                  </a:cubicBezTo>
                  <a:cubicBezTo>
                    <a:pt x="46" y="360"/>
                    <a:pt x="55" y="375"/>
                    <a:pt x="55" y="375"/>
                  </a:cubicBezTo>
                  <a:cubicBezTo>
                    <a:pt x="57" y="385"/>
                    <a:pt x="67" y="381"/>
                    <a:pt x="67" y="381"/>
                  </a:cubicBezTo>
                  <a:cubicBezTo>
                    <a:pt x="73" y="381"/>
                    <a:pt x="74" y="376"/>
                    <a:pt x="69" y="377"/>
                  </a:cubicBezTo>
                  <a:cubicBezTo>
                    <a:pt x="65" y="377"/>
                    <a:pt x="64" y="371"/>
                    <a:pt x="64" y="371"/>
                  </a:cubicBezTo>
                  <a:cubicBezTo>
                    <a:pt x="61" y="367"/>
                    <a:pt x="67" y="357"/>
                    <a:pt x="67" y="357"/>
                  </a:cubicBezTo>
                  <a:cubicBezTo>
                    <a:pt x="73" y="350"/>
                    <a:pt x="75" y="332"/>
                    <a:pt x="75" y="326"/>
                  </a:cubicBezTo>
                  <a:cubicBezTo>
                    <a:pt x="74" y="319"/>
                    <a:pt x="77" y="289"/>
                    <a:pt x="78" y="283"/>
                  </a:cubicBezTo>
                  <a:cubicBezTo>
                    <a:pt x="79" y="278"/>
                    <a:pt x="85" y="236"/>
                    <a:pt x="85" y="236"/>
                  </a:cubicBezTo>
                  <a:cubicBezTo>
                    <a:pt x="89" y="229"/>
                    <a:pt x="87" y="215"/>
                    <a:pt x="87" y="215"/>
                  </a:cubicBezTo>
                  <a:cubicBezTo>
                    <a:pt x="90" y="209"/>
                    <a:pt x="92" y="173"/>
                    <a:pt x="92" y="165"/>
                  </a:cubicBezTo>
                  <a:cubicBezTo>
                    <a:pt x="92" y="156"/>
                    <a:pt x="94" y="132"/>
                    <a:pt x="94" y="132"/>
                  </a:cubicBezTo>
                  <a:cubicBezTo>
                    <a:pt x="94" y="132"/>
                    <a:pt x="90" y="151"/>
                    <a:pt x="94" y="130"/>
                  </a:cubicBezTo>
                  <a:cubicBezTo>
                    <a:pt x="97" y="109"/>
                    <a:pt x="108" y="121"/>
                    <a:pt x="108" y="121"/>
                  </a:cubicBezTo>
                  <a:cubicBezTo>
                    <a:pt x="113" y="123"/>
                    <a:pt x="115" y="137"/>
                    <a:pt x="115" y="137"/>
                  </a:cubicBezTo>
                  <a:cubicBezTo>
                    <a:pt x="103" y="141"/>
                    <a:pt x="99" y="171"/>
                    <a:pt x="99" y="171"/>
                  </a:cubicBezTo>
                  <a:cubicBezTo>
                    <a:pt x="90" y="188"/>
                    <a:pt x="99" y="212"/>
                    <a:pt x="99" y="212"/>
                  </a:cubicBezTo>
                  <a:cubicBezTo>
                    <a:pt x="98" y="214"/>
                    <a:pt x="99" y="221"/>
                    <a:pt x="99" y="221"/>
                  </a:cubicBezTo>
                  <a:cubicBezTo>
                    <a:pt x="82" y="226"/>
                    <a:pt x="106" y="272"/>
                    <a:pt x="106" y="272"/>
                  </a:cubicBezTo>
                  <a:cubicBezTo>
                    <a:pt x="103" y="276"/>
                    <a:pt x="101" y="293"/>
                    <a:pt x="102" y="296"/>
                  </a:cubicBezTo>
                  <a:cubicBezTo>
                    <a:pt x="103" y="300"/>
                    <a:pt x="103" y="294"/>
                    <a:pt x="97" y="317"/>
                  </a:cubicBezTo>
                  <a:cubicBezTo>
                    <a:pt x="91" y="341"/>
                    <a:pt x="108" y="351"/>
                    <a:pt x="108" y="351"/>
                  </a:cubicBezTo>
                  <a:cubicBezTo>
                    <a:pt x="125" y="350"/>
                    <a:pt x="125" y="350"/>
                    <a:pt x="125" y="350"/>
                  </a:cubicBezTo>
                  <a:cubicBezTo>
                    <a:pt x="133" y="345"/>
                    <a:pt x="137" y="325"/>
                    <a:pt x="131" y="316"/>
                  </a:cubicBezTo>
                  <a:cubicBezTo>
                    <a:pt x="126" y="306"/>
                    <a:pt x="133" y="289"/>
                    <a:pt x="133" y="289"/>
                  </a:cubicBezTo>
                  <a:cubicBezTo>
                    <a:pt x="136" y="280"/>
                    <a:pt x="135" y="270"/>
                    <a:pt x="131" y="267"/>
                  </a:cubicBezTo>
                  <a:cubicBezTo>
                    <a:pt x="128" y="264"/>
                    <a:pt x="130" y="258"/>
                    <a:pt x="130" y="258"/>
                  </a:cubicBezTo>
                  <a:cubicBezTo>
                    <a:pt x="153" y="250"/>
                    <a:pt x="143" y="232"/>
                    <a:pt x="143" y="232"/>
                  </a:cubicBezTo>
                  <a:cubicBezTo>
                    <a:pt x="145" y="230"/>
                    <a:pt x="148" y="221"/>
                    <a:pt x="148" y="221"/>
                  </a:cubicBezTo>
                  <a:cubicBezTo>
                    <a:pt x="152" y="219"/>
                    <a:pt x="157" y="209"/>
                    <a:pt x="157" y="209"/>
                  </a:cubicBezTo>
                  <a:cubicBezTo>
                    <a:pt x="159" y="210"/>
                    <a:pt x="161" y="209"/>
                    <a:pt x="161" y="209"/>
                  </a:cubicBezTo>
                  <a:cubicBezTo>
                    <a:pt x="153" y="228"/>
                    <a:pt x="168" y="267"/>
                    <a:pt x="169" y="270"/>
                  </a:cubicBezTo>
                  <a:cubicBezTo>
                    <a:pt x="170" y="272"/>
                    <a:pt x="173" y="294"/>
                    <a:pt x="172" y="301"/>
                  </a:cubicBezTo>
                  <a:cubicBezTo>
                    <a:pt x="172" y="309"/>
                    <a:pt x="174" y="328"/>
                    <a:pt x="174" y="328"/>
                  </a:cubicBezTo>
                  <a:cubicBezTo>
                    <a:pt x="176" y="330"/>
                    <a:pt x="179" y="341"/>
                    <a:pt x="179" y="341"/>
                  </a:cubicBezTo>
                  <a:cubicBezTo>
                    <a:pt x="186" y="356"/>
                    <a:pt x="202" y="350"/>
                    <a:pt x="202" y="350"/>
                  </a:cubicBezTo>
                  <a:cubicBezTo>
                    <a:pt x="208" y="347"/>
                    <a:pt x="211" y="332"/>
                    <a:pt x="212" y="322"/>
                  </a:cubicBezTo>
                  <a:cubicBezTo>
                    <a:pt x="214" y="313"/>
                    <a:pt x="221" y="269"/>
                    <a:pt x="221" y="268"/>
                  </a:cubicBezTo>
                  <a:cubicBezTo>
                    <a:pt x="221" y="268"/>
                    <a:pt x="221" y="268"/>
                    <a:pt x="221" y="269"/>
                  </a:cubicBezTo>
                  <a:cubicBezTo>
                    <a:pt x="225" y="278"/>
                    <a:pt x="233" y="319"/>
                    <a:pt x="232" y="324"/>
                  </a:cubicBezTo>
                  <a:cubicBezTo>
                    <a:pt x="231" y="331"/>
                    <a:pt x="234" y="338"/>
                    <a:pt x="235" y="337"/>
                  </a:cubicBezTo>
                  <a:cubicBezTo>
                    <a:pt x="235" y="336"/>
                    <a:pt x="241" y="362"/>
                    <a:pt x="242" y="366"/>
                  </a:cubicBezTo>
                  <a:cubicBezTo>
                    <a:pt x="243" y="370"/>
                    <a:pt x="239" y="372"/>
                    <a:pt x="239" y="372"/>
                  </a:cubicBezTo>
                  <a:cubicBezTo>
                    <a:pt x="226" y="379"/>
                    <a:pt x="245" y="378"/>
                    <a:pt x="248" y="377"/>
                  </a:cubicBezTo>
                  <a:cubicBezTo>
                    <a:pt x="252" y="376"/>
                    <a:pt x="250" y="374"/>
                    <a:pt x="251" y="369"/>
                  </a:cubicBezTo>
                  <a:cubicBezTo>
                    <a:pt x="251" y="364"/>
                    <a:pt x="258" y="361"/>
                    <a:pt x="258" y="361"/>
                  </a:cubicBezTo>
                  <a:cubicBezTo>
                    <a:pt x="265" y="359"/>
                    <a:pt x="278" y="377"/>
                    <a:pt x="278" y="377"/>
                  </a:cubicBezTo>
                  <a:cubicBezTo>
                    <a:pt x="283" y="381"/>
                    <a:pt x="299" y="376"/>
                    <a:pt x="299" y="376"/>
                  </a:cubicBezTo>
                  <a:cubicBezTo>
                    <a:pt x="310" y="373"/>
                    <a:pt x="295" y="370"/>
                    <a:pt x="295" y="370"/>
                  </a:cubicBezTo>
                  <a:close/>
                  <a:moveTo>
                    <a:pt x="211" y="142"/>
                  </a:moveTo>
                  <a:cubicBezTo>
                    <a:pt x="210" y="140"/>
                    <a:pt x="205" y="132"/>
                    <a:pt x="204" y="130"/>
                  </a:cubicBezTo>
                  <a:cubicBezTo>
                    <a:pt x="203" y="128"/>
                    <a:pt x="207" y="126"/>
                    <a:pt x="207" y="126"/>
                  </a:cubicBezTo>
                  <a:cubicBezTo>
                    <a:pt x="214" y="127"/>
                    <a:pt x="211" y="142"/>
                    <a:pt x="211" y="142"/>
                  </a:cubicBezTo>
                  <a:close/>
                  <a:moveTo>
                    <a:pt x="221" y="267"/>
                  </a:moveTo>
                  <a:cubicBezTo>
                    <a:pt x="221" y="267"/>
                    <a:pt x="221" y="267"/>
                    <a:pt x="221" y="268"/>
                  </a:cubicBezTo>
                  <a:cubicBezTo>
                    <a:pt x="221" y="267"/>
                    <a:pt x="218" y="263"/>
                    <a:pt x="221" y="267"/>
                  </a:cubicBezTo>
                  <a:close/>
                </a:path>
              </a:pathLst>
            </a:custGeom>
            <a:solidFill>
              <a:srgbClr val="4276AA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任意多边形 49"/>
            <p:cNvSpPr/>
            <p:nvPr>
              <p:custDataLst>
                <p:tags r:id="rId17"/>
              </p:custDataLst>
            </p:nvPr>
          </p:nvSpPr>
          <p:spPr bwMode="auto">
            <a:xfrm>
              <a:off x="8401" y="4720"/>
              <a:ext cx="1440" cy="1400"/>
            </a:xfrm>
            <a:custGeom>
              <a:avLst/>
              <a:gdLst>
                <a:gd name="T0" fmla="*/ 14 w 325"/>
                <a:gd name="T1" fmla="*/ 312 h 315"/>
                <a:gd name="T2" fmla="*/ 59 w 325"/>
                <a:gd name="T3" fmla="*/ 310 h 315"/>
                <a:gd name="T4" fmla="*/ 80 w 325"/>
                <a:gd name="T5" fmla="*/ 312 h 315"/>
                <a:gd name="T6" fmla="*/ 78 w 325"/>
                <a:gd name="T7" fmla="*/ 301 h 315"/>
                <a:gd name="T8" fmla="*/ 65 w 325"/>
                <a:gd name="T9" fmla="*/ 273 h 315"/>
                <a:gd name="T10" fmla="*/ 84 w 325"/>
                <a:gd name="T11" fmla="*/ 265 h 315"/>
                <a:gd name="T12" fmla="*/ 112 w 325"/>
                <a:gd name="T13" fmla="*/ 258 h 315"/>
                <a:gd name="T14" fmla="*/ 123 w 325"/>
                <a:gd name="T15" fmla="*/ 236 h 315"/>
                <a:gd name="T16" fmla="*/ 125 w 325"/>
                <a:gd name="T17" fmla="*/ 161 h 315"/>
                <a:gd name="T18" fmla="*/ 165 w 325"/>
                <a:gd name="T19" fmla="*/ 186 h 315"/>
                <a:gd name="T20" fmla="*/ 147 w 325"/>
                <a:gd name="T21" fmla="*/ 230 h 315"/>
                <a:gd name="T22" fmla="*/ 134 w 325"/>
                <a:gd name="T23" fmla="*/ 255 h 315"/>
                <a:gd name="T24" fmla="*/ 124 w 325"/>
                <a:gd name="T25" fmla="*/ 273 h 315"/>
                <a:gd name="T26" fmla="*/ 132 w 325"/>
                <a:gd name="T27" fmla="*/ 293 h 315"/>
                <a:gd name="T28" fmla="*/ 148 w 325"/>
                <a:gd name="T29" fmla="*/ 307 h 315"/>
                <a:gd name="T30" fmla="*/ 163 w 325"/>
                <a:gd name="T31" fmla="*/ 292 h 315"/>
                <a:gd name="T32" fmla="*/ 154 w 325"/>
                <a:gd name="T33" fmla="*/ 269 h 315"/>
                <a:gd name="T34" fmla="*/ 182 w 325"/>
                <a:gd name="T35" fmla="*/ 235 h 315"/>
                <a:gd name="T36" fmla="*/ 211 w 325"/>
                <a:gd name="T37" fmla="*/ 172 h 315"/>
                <a:gd name="T38" fmla="*/ 209 w 325"/>
                <a:gd name="T39" fmla="*/ 136 h 315"/>
                <a:gd name="T40" fmla="*/ 227 w 325"/>
                <a:gd name="T41" fmla="*/ 140 h 315"/>
                <a:gd name="T42" fmla="*/ 241 w 325"/>
                <a:gd name="T43" fmla="*/ 208 h 315"/>
                <a:gd name="T44" fmla="*/ 266 w 325"/>
                <a:gd name="T45" fmla="*/ 269 h 315"/>
                <a:gd name="T46" fmla="*/ 270 w 325"/>
                <a:gd name="T47" fmla="*/ 301 h 315"/>
                <a:gd name="T48" fmla="*/ 264 w 325"/>
                <a:gd name="T49" fmla="*/ 312 h 315"/>
                <a:gd name="T50" fmla="*/ 284 w 325"/>
                <a:gd name="T51" fmla="*/ 310 h 315"/>
                <a:gd name="T52" fmla="*/ 317 w 325"/>
                <a:gd name="T53" fmla="*/ 312 h 315"/>
                <a:gd name="T54" fmla="*/ 307 w 325"/>
                <a:gd name="T55" fmla="*/ 307 h 315"/>
                <a:gd name="T56" fmla="*/ 292 w 325"/>
                <a:gd name="T57" fmla="*/ 301 h 315"/>
                <a:gd name="T58" fmla="*/ 284 w 325"/>
                <a:gd name="T59" fmla="*/ 270 h 315"/>
                <a:gd name="T60" fmla="*/ 275 w 325"/>
                <a:gd name="T61" fmla="*/ 221 h 315"/>
                <a:gd name="T62" fmla="*/ 259 w 325"/>
                <a:gd name="T63" fmla="*/ 169 h 315"/>
                <a:gd name="T64" fmla="*/ 250 w 325"/>
                <a:gd name="T65" fmla="*/ 115 h 315"/>
                <a:gd name="T66" fmla="*/ 235 w 325"/>
                <a:gd name="T67" fmla="*/ 89 h 315"/>
                <a:gd name="T68" fmla="*/ 246 w 325"/>
                <a:gd name="T69" fmla="*/ 64 h 315"/>
                <a:gd name="T70" fmla="*/ 199 w 325"/>
                <a:gd name="T71" fmla="*/ 15 h 315"/>
                <a:gd name="T72" fmla="*/ 180 w 325"/>
                <a:gd name="T73" fmla="*/ 64 h 315"/>
                <a:gd name="T74" fmla="*/ 119 w 325"/>
                <a:gd name="T75" fmla="*/ 77 h 315"/>
                <a:gd name="T76" fmla="*/ 74 w 325"/>
                <a:gd name="T77" fmla="*/ 145 h 315"/>
                <a:gd name="T78" fmla="*/ 79 w 325"/>
                <a:gd name="T79" fmla="*/ 193 h 315"/>
                <a:gd name="T80" fmla="*/ 51 w 325"/>
                <a:gd name="T81" fmla="*/ 243 h 315"/>
                <a:gd name="T82" fmla="*/ 38 w 325"/>
                <a:gd name="T83" fmla="*/ 242 h 315"/>
                <a:gd name="T84" fmla="*/ 29 w 325"/>
                <a:gd name="T85" fmla="*/ 269 h 315"/>
                <a:gd name="T86" fmla="*/ 33 w 325"/>
                <a:gd name="T87" fmla="*/ 297 h 315"/>
                <a:gd name="T88" fmla="*/ 13 w 325"/>
                <a:gd name="T89" fmla="*/ 305 h 315"/>
                <a:gd name="T90" fmla="*/ 80 w 325"/>
                <a:gd name="T91" fmla="*/ 242 h 315"/>
                <a:gd name="T92" fmla="*/ 84 w 325"/>
                <a:gd name="T93" fmla="*/ 235 h 315"/>
                <a:gd name="T94" fmla="*/ 84 w 325"/>
                <a:gd name="T95" fmla="*/ 241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5" h="315">
                  <a:moveTo>
                    <a:pt x="2" y="310"/>
                  </a:moveTo>
                  <a:cubicBezTo>
                    <a:pt x="3" y="312"/>
                    <a:pt x="10" y="312"/>
                    <a:pt x="14" y="312"/>
                  </a:cubicBezTo>
                  <a:cubicBezTo>
                    <a:pt x="14" y="312"/>
                    <a:pt x="30" y="312"/>
                    <a:pt x="35" y="312"/>
                  </a:cubicBezTo>
                  <a:cubicBezTo>
                    <a:pt x="35" y="312"/>
                    <a:pt x="56" y="315"/>
                    <a:pt x="59" y="310"/>
                  </a:cubicBezTo>
                  <a:cubicBezTo>
                    <a:pt x="59" y="310"/>
                    <a:pt x="65" y="305"/>
                    <a:pt x="71" y="307"/>
                  </a:cubicBezTo>
                  <a:cubicBezTo>
                    <a:pt x="71" y="307"/>
                    <a:pt x="78" y="311"/>
                    <a:pt x="80" y="312"/>
                  </a:cubicBezTo>
                  <a:cubicBezTo>
                    <a:pt x="80" y="312"/>
                    <a:pt x="102" y="313"/>
                    <a:pt x="87" y="307"/>
                  </a:cubicBezTo>
                  <a:cubicBezTo>
                    <a:pt x="87" y="307"/>
                    <a:pt x="81" y="303"/>
                    <a:pt x="78" y="301"/>
                  </a:cubicBezTo>
                  <a:cubicBezTo>
                    <a:pt x="74" y="300"/>
                    <a:pt x="72" y="290"/>
                    <a:pt x="69" y="287"/>
                  </a:cubicBezTo>
                  <a:cubicBezTo>
                    <a:pt x="66" y="283"/>
                    <a:pt x="63" y="277"/>
                    <a:pt x="65" y="273"/>
                  </a:cubicBezTo>
                  <a:cubicBezTo>
                    <a:pt x="67" y="269"/>
                    <a:pt x="70" y="264"/>
                    <a:pt x="70" y="264"/>
                  </a:cubicBezTo>
                  <a:cubicBezTo>
                    <a:pt x="70" y="264"/>
                    <a:pt x="80" y="265"/>
                    <a:pt x="84" y="265"/>
                  </a:cubicBezTo>
                  <a:cubicBezTo>
                    <a:pt x="84" y="265"/>
                    <a:pt x="88" y="264"/>
                    <a:pt x="91" y="265"/>
                  </a:cubicBezTo>
                  <a:cubicBezTo>
                    <a:pt x="91" y="265"/>
                    <a:pt x="107" y="267"/>
                    <a:pt x="112" y="258"/>
                  </a:cubicBezTo>
                  <a:cubicBezTo>
                    <a:pt x="112" y="258"/>
                    <a:pt x="116" y="254"/>
                    <a:pt x="117" y="253"/>
                  </a:cubicBezTo>
                  <a:cubicBezTo>
                    <a:pt x="118" y="252"/>
                    <a:pt x="123" y="243"/>
                    <a:pt x="123" y="236"/>
                  </a:cubicBezTo>
                  <a:cubicBezTo>
                    <a:pt x="123" y="228"/>
                    <a:pt x="122" y="199"/>
                    <a:pt x="122" y="195"/>
                  </a:cubicBezTo>
                  <a:cubicBezTo>
                    <a:pt x="122" y="190"/>
                    <a:pt x="127" y="164"/>
                    <a:pt x="125" y="161"/>
                  </a:cubicBezTo>
                  <a:cubicBezTo>
                    <a:pt x="125" y="161"/>
                    <a:pt x="128" y="152"/>
                    <a:pt x="131" y="155"/>
                  </a:cubicBezTo>
                  <a:cubicBezTo>
                    <a:pt x="131" y="155"/>
                    <a:pt x="156" y="182"/>
                    <a:pt x="165" y="186"/>
                  </a:cubicBezTo>
                  <a:cubicBezTo>
                    <a:pt x="165" y="186"/>
                    <a:pt x="170" y="194"/>
                    <a:pt x="171" y="195"/>
                  </a:cubicBezTo>
                  <a:cubicBezTo>
                    <a:pt x="171" y="195"/>
                    <a:pt x="150" y="215"/>
                    <a:pt x="147" y="230"/>
                  </a:cubicBezTo>
                  <a:cubicBezTo>
                    <a:pt x="147" y="230"/>
                    <a:pt x="141" y="245"/>
                    <a:pt x="137" y="250"/>
                  </a:cubicBezTo>
                  <a:cubicBezTo>
                    <a:pt x="134" y="254"/>
                    <a:pt x="134" y="255"/>
                    <a:pt x="134" y="255"/>
                  </a:cubicBezTo>
                  <a:cubicBezTo>
                    <a:pt x="134" y="255"/>
                    <a:pt x="130" y="254"/>
                    <a:pt x="129" y="259"/>
                  </a:cubicBezTo>
                  <a:cubicBezTo>
                    <a:pt x="128" y="264"/>
                    <a:pt x="126" y="270"/>
                    <a:pt x="124" y="273"/>
                  </a:cubicBezTo>
                  <a:cubicBezTo>
                    <a:pt x="121" y="276"/>
                    <a:pt x="117" y="276"/>
                    <a:pt x="121" y="283"/>
                  </a:cubicBezTo>
                  <a:cubicBezTo>
                    <a:pt x="121" y="283"/>
                    <a:pt x="130" y="292"/>
                    <a:pt x="132" y="293"/>
                  </a:cubicBezTo>
                  <a:cubicBezTo>
                    <a:pt x="135" y="295"/>
                    <a:pt x="134" y="297"/>
                    <a:pt x="133" y="300"/>
                  </a:cubicBezTo>
                  <a:cubicBezTo>
                    <a:pt x="133" y="300"/>
                    <a:pt x="131" y="307"/>
                    <a:pt x="148" y="307"/>
                  </a:cubicBezTo>
                  <a:cubicBezTo>
                    <a:pt x="148" y="307"/>
                    <a:pt x="166" y="308"/>
                    <a:pt x="167" y="304"/>
                  </a:cubicBezTo>
                  <a:cubicBezTo>
                    <a:pt x="167" y="304"/>
                    <a:pt x="169" y="297"/>
                    <a:pt x="163" y="292"/>
                  </a:cubicBezTo>
                  <a:cubicBezTo>
                    <a:pt x="163" y="292"/>
                    <a:pt x="157" y="284"/>
                    <a:pt x="155" y="277"/>
                  </a:cubicBezTo>
                  <a:cubicBezTo>
                    <a:pt x="154" y="271"/>
                    <a:pt x="154" y="269"/>
                    <a:pt x="154" y="269"/>
                  </a:cubicBezTo>
                  <a:cubicBezTo>
                    <a:pt x="154" y="269"/>
                    <a:pt x="156" y="262"/>
                    <a:pt x="152" y="261"/>
                  </a:cubicBezTo>
                  <a:cubicBezTo>
                    <a:pt x="152" y="261"/>
                    <a:pt x="177" y="238"/>
                    <a:pt x="182" y="235"/>
                  </a:cubicBezTo>
                  <a:cubicBezTo>
                    <a:pt x="187" y="232"/>
                    <a:pt x="205" y="213"/>
                    <a:pt x="204" y="209"/>
                  </a:cubicBezTo>
                  <a:cubicBezTo>
                    <a:pt x="204" y="209"/>
                    <a:pt x="219" y="185"/>
                    <a:pt x="211" y="172"/>
                  </a:cubicBezTo>
                  <a:cubicBezTo>
                    <a:pt x="203" y="159"/>
                    <a:pt x="205" y="147"/>
                    <a:pt x="199" y="144"/>
                  </a:cubicBezTo>
                  <a:cubicBezTo>
                    <a:pt x="199" y="144"/>
                    <a:pt x="208" y="138"/>
                    <a:pt x="209" y="136"/>
                  </a:cubicBezTo>
                  <a:cubicBezTo>
                    <a:pt x="209" y="136"/>
                    <a:pt x="219" y="137"/>
                    <a:pt x="221" y="135"/>
                  </a:cubicBezTo>
                  <a:cubicBezTo>
                    <a:pt x="221" y="135"/>
                    <a:pt x="227" y="136"/>
                    <a:pt x="227" y="140"/>
                  </a:cubicBezTo>
                  <a:cubicBezTo>
                    <a:pt x="227" y="144"/>
                    <a:pt x="233" y="176"/>
                    <a:pt x="235" y="183"/>
                  </a:cubicBezTo>
                  <a:cubicBezTo>
                    <a:pt x="238" y="190"/>
                    <a:pt x="240" y="202"/>
                    <a:pt x="241" y="208"/>
                  </a:cubicBezTo>
                  <a:cubicBezTo>
                    <a:pt x="241" y="214"/>
                    <a:pt x="249" y="231"/>
                    <a:pt x="254" y="239"/>
                  </a:cubicBezTo>
                  <a:cubicBezTo>
                    <a:pt x="258" y="248"/>
                    <a:pt x="265" y="264"/>
                    <a:pt x="266" y="269"/>
                  </a:cubicBezTo>
                  <a:cubicBezTo>
                    <a:pt x="268" y="274"/>
                    <a:pt x="272" y="281"/>
                    <a:pt x="272" y="286"/>
                  </a:cubicBezTo>
                  <a:cubicBezTo>
                    <a:pt x="271" y="291"/>
                    <a:pt x="270" y="299"/>
                    <a:pt x="270" y="301"/>
                  </a:cubicBezTo>
                  <a:cubicBezTo>
                    <a:pt x="270" y="303"/>
                    <a:pt x="270" y="306"/>
                    <a:pt x="266" y="307"/>
                  </a:cubicBezTo>
                  <a:cubicBezTo>
                    <a:pt x="263" y="309"/>
                    <a:pt x="261" y="310"/>
                    <a:pt x="264" y="312"/>
                  </a:cubicBezTo>
                  <a:cubicBezTo>
                    <a:pt x="264" y="312"/>
                    <a:pt x="270" y="313"/>
                    <a:pt x="273" y="311"/>
                  </a:cubicBezTo>
                  <a:cubicBezTo>
                    <a:pt x="273" y="311"/>
                    <a:pt x="277" y="307"/>
                    <a:pt x="284" y="310"/>
                  </a:cubicBezTo>
                  <a:cubicBezTo>
                    <a:pt x="284" y="310"/>
                    <a:pt x="291" y="312"/>
                    <a:pt x="295" y="312"/>
                  </a:cubicBezTo>
                  <a:cubicBezTo>
                    <a:pt x="295" y="312"/>
                    <a:pt x="316" y="313"/>
                    <a:pt x="317" y="312"/>
                  </a:cubicBezTo>
                  <a:cubicBezTo>
                    <a:pt x="317" y="312"/>
                    <a:pt x="325" y="311"/>
                    <a:pt x="317" y="307"/>
                  </a:cubicBezTo>
                  <a:cubicBezTo>
                    <a:pt x="317" y="307"/>
                    <a:pt x="311" y="307"/>
                    <a:pt x="307" y="307"/>
                  </a:cubicBezTo>
                  <a:cubicBezTo>
                    <a:pt x="304" y="307"/>
                    <a:pt x="302" y="304"/>
                    <a:pt x="299" y="305"/>
                  </a:cubicBezTo>
                  <a:cubicBezTo>
                    <a:pt x="295" y="305"/>
                    <a:pt x="296" y="304"/>
                    <a:pt x="292" y="301"/>
                  </a:cubicBezTo>
                  <a:cubicBezTo>
                    <a:pt x="289" y="297"/>
                    <a:pt x="285" y="279"/>
                    <a:pt x="285" y="277"/>
                  </a:cubicBezTo>
                  <a:cubicBezTo>
                    <a:pt x="285" y="276"/>
                    <a:pt x="285" y="272"/>
                    <a:pt x="284" y="270"/>
                  </a:cubicBezTo>
                  <a:cubicBezTo>
                    <a:pt x="283" y="268"/>
                    <a:pt x="280" y="246"/>
                    <a:pt x="279" y="241"/>
                  </a:cubicBezTo>
                  <a:cubicBezTo>
                    <a:pt x="278" y="235"/>
                    <a:pt x="277" y="225"/>
                    <a:pt x="275" y="221"/>
                  </a:cubicBezTo>
                  <a:cubicBezTo>
                    <a:pt x="274" y="217"/>
                    <a:pt x="276" y="205"/>
                    <a:pt x="269" y="196"/>
                  </a:cubicBezTo>
                  <a:cubicBezTo>
                    <a:pt x="261" y="186"/>
                    <a:pt x="259" y="178"/>
                    <a:pt x="259" y="169"/>
                  </a:cubicBezTo>
                  <a:cubicBezTo>
                    <a:pt x="258" y="160"/>
                    <a:pt x="255" y="149"/>
                    <a:pt x="254" y="146"/>
                  </a:cubicBezTo>
                  <a:cubicBezTo>
                    <a:pt x="254" y="142"/>
                    <a:pt x="255" y="128"/>
                    <a:pt x="250" y="115"/>
                  </a:cubicBezTo>
                  <a:cubicBezTo>
                    <a:pt x="245" y="101"/>
                    <a:pt x="239" y="91"/>
                    <a:pt x="234" y="89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35" y="89"/>
                    <a:pt x="243" y="78"/>
                    <a:pt x="242" y="70"/>
                  </a:cubicBezTo>
                  <a:cubicBezTo>
                    <a:pt x="242" y="70"/>
                    <a:pt x="244" y="65"/>
                    <a:pt x="246" y="64"/>
                  </a:cubicBezTo>
                  <a:cubicBezTo>
                    <a:pt x="246" y="64"/>
                    <a:pt x="259" y="40"/>
                    <a:pt x="245" y="25"/>
                  </a:cubicBezTo>
                  <a:cubicBezTo>
                    <a:pt x="245" y="25"/>
                    <a:pt x="226" y="0"/>
                    <a:pt x="199" y="15"/>
                  </a:cubicBezTo>
                  <a:cubicBezTo>
                    <a:pt x="199" y="15"/>
                    <a:pt x="182" y="28"/>
                    <a:pt x="181" y="45"/>
                  </a:cubicBezTo>
                  <a:cubicBezTo>
                    <a:pt x="181" y="45"/>
                    <a:pt x="176" y="48"/>
                    <a:pt x="180" y="64"/>
                  </a:cubicBezTo>
                  <a:cubicBezTo>
                    <a:pt x="180" y="64"/>
                    <a:pt x="164" y="56"/>
                    <a:pt x="155" y="60"/>
                  </a:cubicBezTo>
                  <a:cubicBezTo>
                    <a:pt x="155" y="60"/>
                    <a:pt x="131" y="66"/>
                    <a:pt x="119" y="77"/>
                  </a:cubicBezTo>
                  <a:cubicBezTo>
                    <a:pt x="119" y="77"/>
                    <a:pt x="97" y="90"/>
                    <a:pt x="87" y="104"/>
                  </a:cubicBezTo>
                  <a:cubicBezTo>
                    <a:pt x="78" y="118"/>
                    <a:pt x="74" y="132"/>
                    <a:pt x="74" y="145"/>
                  </a:cubicBezTo>
                  <a:cubicBezTo>
                    <a:pt x="74" y="158"/>
                    <a:pt x="71" y="161"/>
                    <a:pt x="75" y="163"/>
                  </a:cubicBezTo>
                  <a:cubicBezTo>
                    <a:pt x="75" y="163"/>
                    <a:pt x="78" y="189"/>
                    <a:pt x="79" y="193"/>
                  </a:cubicBezTo>
                  <a:cubicBezTo>
                    <a:pt x="79" y="193"/>
                    <a:pt x="59" y="231"/>
                    <a:pt x="57" y="240"/>
                  </a:cubicBezTo>
                  <a:cubicBezTo>
                    <a:pt x="57" y="240"/>
                    <a:pt x="55" y="244"/>
                    <a:pt x="51" y="243"/>
                  </a:cubicBezTo>
                  <a:cubicBezTo>
                    <a:pt x="51" y="243"/>
                    <a:pt x="49" y="240"/>
                    <a:pt x="42" y="242"/>
                  </a:cubicBezTo>
                  <a:cubicBezTo>
                    <a:pt x="42" y="242"/>
                    <a:pt x="39" y="243"/>
                    <a:pt x="38" y="242"/>
                  </a:cubicBezTo>
                  <a:cubicBezTo>
                    <a:pt x="36" y="241"/>
                    <a:pt x="30" y="240"/>
                    <a:pt x="27" y="245"/>
                  </a:cubicBezTo>
                  <a:cubicBezTo>
                    <a:pt x="25" y="251"/>
                    <a:pt x="27" y="263"/>
                    <a:pt x="29" y="269"/>
                  </a:cubicBezTo>
                  <a:cubicBezTo>
                    <a:pt x="30" y="276"/>
                    <a:pt x="28" y="281"/>
                    <a:pt x="28" y="285"/>
                  </a:cubicBezTo>
                  <a:cubicBezTo>
                    <a:pt x="28" y="288"/>
                    <a:pt x="30" y="295"/>
                    <a:pt x="33" y="297"/>
                  </a:cubicBezTo>
                  <a:cubicBezTo>
                    <a:pt x="33" y="297"/>
                    <a:pt x="31" y="301"/>
                    <a:pt x="27" y="302"/>
                  </a:cubicBezTo>
                  <a:cubicBezTo>
                    <a:pt x="24" y="303"/>
                    <a:pt x="16" y="304"/>
                    <a:pt x="13" y="305"/>
                  </a:cubicBezTo>
                  <a:cubicBezTo>
                    <a:pt x="10" y="306"/>
                    <a:pt x="0" y="307"/>
                    <a:pt x="2" y="310"/>
                  </a:cubicBezTo>
                  <a:close/>
                  <a:moveTo>
                    <a:pt x="80" y="242"/>
                  </a:moveTo>
                  <a:cubicBezTo>
                    <a:pt x="80" y="242"/>
                    <a:pt x="84" y="237"/>
                    <a:pt x="84" y="235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236"/>
                    <a:pt x="83" y="240"/>
                    <a:pt x="84" y="241"/>
                  </a:cubicBezTo>
                  <a:cubicBezTo>
                    <a:pt x="84" y="241"/>
                    <a:pt x="81" y="241"/>
                    <a:pt x="80" y="242"/>
                  </a:cubicBezTo>
                  <a:close/>
                </a:path>
              </a:pathLst>
            </a:custGeom>
            <a:solidFill>
              <a:srgbClr val="178AA1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任意多边形 50"/>
            <p:cNvSpPr/>
            <p:nvPr>
              <p:custDataLst>
                <p:tags r:id="rId18"/>
              </p:custDataLst>
            </p:nvPr>
          </p:nvSpPr>
          <p:spPr bwMode="auto">
            <a:xfrm>
              <a:off x="11748" y="3865"/>
              <a:ext cx="860" cy="1935"/>
            </a:xfrm>
            <a:custGeom>
              <a:avLst/>
              <a:gdLst>
                <a:gd name="T0" fmla="*/ 186 w 194"/>
                <a:gd name="T1" fmla="*/ 40 h 436"/>
                <a:gd name="T2" fmla="*/ 128 w 194"/>
                <a:gd name="T3" fmla="*/ 42 h 436"/>
                <a:gd name="T4" fmla="*/ 120 w 194"/>
                <a:gd name="T5" fmla="*/ 39 h 436"/>
                <a:gd name="T6" fmla="*/ 67 w 194"/>
                <a:gd name="T7" fmla="*/ 41 h 436"/>
                <a:gd name="T8" fmla="*/ 38 w 194"/>
                <a:gd name="T9" fmla="*/ 71 h 436"/>
                <a:gd name="T10" fmla="*/ 6 w 194"/>
                <a:gd name="T11" fmla="*/ 146 h 436"/>
                <a:gd name="T12" fmla="*/ 4 w 194"/>
                <a:gd name="T13" fmla="*/ 176 h 436"/>
                <a:gd name="T14" fmla="*/ 17 w 194"/>
                <a:gd name="T15" fmla="*/ 183 h 436"/>
                <a:gd name="T16" fmla="*/ 42 w 194"/>
                <a:gd name="T17" fmla="*/ 183 h 436"/>
                <a:gd name="T18" fmla="*/ 39 w 194"/>
                <a:gd name="T19" fmla="*/ 230 h 436"/>
                <a:gd name="T20" fmla="*/ 48 w 194"/>
                <a:gd name="T21" fmla="*/ 275 h 436"/>
                <a:gd name="T22" fmla="*/ 54 w 194"/>
                <a:gd name="T23" fmla="*/ 336 h 436"/>
                <a:gd name="T24" fmla="*/ 43 w 194"/>
                <a:gd name="T25" fmla="*/ 376 h 436"/>
                <a:gd name="T26" fmla="*/ 71 w 194"/>
                <a:gd name="T27" fmla="*/ 367 h 436"/>
                <a:gd name="T28" fmla="*/ 69 w 194"/>
                <a:gd name="T29" fmla="*/ 332 h 436"/>
                <a:gd name="T30" fmla="*/ 75 w 194"/>
                <a:gd name="T31" fmla="*/ 285 h 436"/>
                <a:gd name="T32" fmla="*/ 82 w 194"/>
                <a:gd name="T33" fmla="*/ 262 h 436"/>
                <a:gd name="T34" fmla="*/ 94 w 194"/>
                <a:gd name="T35" fmla="*/ 221 h 436"/>
                <a:gd name="T36" fmla="*/ 99 w 194"/>
                <a:gd name="T37" fmla="*/ 233 h 436"/>
                <a:gd name="T38" fmla="*/ 103 w 194"/>
                <a:gd name="T39" fmla="*/ 281 h 436"/>
                <a:gd name="T40" fmla="*/ 102 w 194"/>
                <a:gd name="T41" fmla="*/ 354 h 436"/>
                <a:gd name="T42" fmla="*/ 92 w 194"/>
                <a:gd name="T43" fmla="*/ 395 h 436"/>
                <a:gd name="T44" fmla="*/ 82 w 194"/>
                <a:gd name="T45" fmla="*/ 426 h 436"/>
                <a:gd name="T46" fmla="*/ 117 w 194"/>
                <a:gd name="T47" fmla="*/ 413 h 436"/>
                <a:gd name="T48" fmla="*/ 120 w 194"/>
                <a:gd name="T49" fmla="*/ 363 h 436"/>
                <a:gd name="T50" fmla="*/ 132 w 194"/>
                <a:gd name="T51" fmla="*/ 275 h 436"/>
                <a:gd name="T52" fmla="*/ 150 w 194"/>
                <a:gd name="T53" fmla="*/ 207 h 436"/>
                <a:gd name="T54" fmla="*/ 152 w 194"/>
                <a:gd name="T55" fmla="*/ 201 h 436"/>
                <a:gd name="T56" fmla="*/ 153 w 194"/>
                <a:gd name="T57" fmla="*/ 186 h 436"/>
                <a:gd name="T58" fmla="*/ 152 w 194"/>
                <a:gd name="T59" fmla="*/ 171 h 436"/>
                <a:gd name="T60" fmla="*/ 144 w 194"/>
                <a:gd name="T61" fmla="*/ 141 h 436"/>
                <a:gd name="T62" fmla="*/ 146 w 194"/>
                <a:gd name="T63" fmla="*/ 113 h 436"/>
                <a:gd name="T64" fmla="*/ 167 w 194"/>
                <a:gd name="T65" fmla="*/ 78 h 436"/>
                <a:gd name="T66" fmla="*/ 173 w 194"/>
                <a:gd name="T67" fmla="*/ 117 h 436"/>
                <a:gd name="T68" fmla="*/ 162 w 194"/>
                <a:gd name="T69" fmla="*/ 132 h 436"/>
                <a:gd name="T70" fmla="*/ 165 w 194"/>
                <a:gd name="T71" fmla="*/ 135 h 436"/>
                <a:gd name="T72" fmla="*/ 176 w 194"/>
                <a:gd name="T73" fmla="*/ 138 h 436"/>
                <a:gd name="T74" fmla="*/ 176 w 194"/>
                <a:gd name="T75" fmla="*/ 144 h 436"/>
                <a:gd name="T76" fmla="*/ 172 w 194"/>
                <a:gd name="T77" fmla="*/ 147 h 436"/>
                <a:gd name="T78" fmla="*/ 171 w 194"/>
                <a:gd name="T79" fmla="*/ 151 h 436"/>
                <a:gd name="T80" fmla="*/ 181 w 194"/>
                <a:gd name="T81" fmla="*/ 148 h 436"/>
                <a:gd name="T82" fmla="*/ 189 w 194"/>
                <a:gd name="T83" fmla="*/ 118 h 436"/>
                <a:gd name="T84" fmla="*/ 189 w 194"/>
                <a:gd name="T85" fmla="*/ 53 h 436"/>
                <a:gd name="T86" fmla="*/ 42 w 194"/>
                <a:gd name="T87" fmla="*/ 153 h 436"/>
                <a:gd name="T88" fmla="*/ 48 w 194"/>
                <a:gd name="T89" fmla="*/ 122 h 436"/>
                <a:gd name="T90" fmla="*/ 57 w 194"/>
                <a:gd name="T91" fmla="*/ 129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4" h="436">
                  <a:moveTo>
                    <a:pt x="189" y="53"/>
                  </a:moveTo>
                  <a:cubicBezTo>
                    <a:pt x="186" y="48"/>
                    <a:pt x="186" y="40"/>
                    <a:pt x="186" y="40"/>
                  </a:cubicBezTo>
                  <a:cubicBezTo>
                    <a:pt x="177" y="24"/>
                    <a:pt x="147" y="38"/>
                    <a:pt x="147" y="38"/>
                  </a:cubicBezTo>
                  <a:cubicBezTo>
                    <a:pt x="140" y="37"/>
                    <a:pt x="131" y="42"/>
                    <a:pt x="128" y="42"/>
                  </a:cubicBezTo>
                  <a:cubicBezTo>
                    <a:pt x="126" y="42"/>
                    <a:pt x="123" y="42"/>
                    <a:pt x="123" y="42"/>
                  </a:cubicBezTo>
                  <a:cubicBezTo>
                    <a:pt x="123" y="38"/>
                    <a:pt x="120" y="39"/>
                    <a:pt x="120" y="39"/>
                  </a:cubicBezTo>
                  <a:cubicBezTo>
                    <a:pt x="125" y="0"/>
                    <a:pt x="94" y="2"/>
                    <a:pt x="94" y="2"/>
                  </a:cubicBezTo>
                  <a:cubicBezTo>
                    <a:pt x="59" y="2"/>
                    <a:pt x="67" y="41"/>
                    <a:pt x="67" y="41"/>
                  </a:cubicBezTo>
                  <a:cubicBezTo>
                    <a:pt x="59" y="32"/>
                    <a:pt x="67" y="52"/>
                    <a:pt x="67" y="52"/>
                  </a:cubicBezTo>
                  <a:cubicBezTo>
                    <a:pt x="56" y="53"/>
                    <a:pt x="38" y="71"/>
                    <a:pt x="38" y="71"/>
                  </a:cubicBezTo>
                  <a:cubicBezTo>
                    <a:pt x="23" y="79"/>
                    <a:pt x="26" y="104"/>
                    <a:pt x="21" y="108"/>
                  </a:cubicBezTo>
                  <a:cubicBezTo>
                    <a:pt x="15" y="113"/>
                    <a:pt x="6" y="143"/>
                    <a:pt x="6" y="146"/>
                  </a:cubicBezTo>
                  <a:cubicBezTo>
                    <a:pt x="5" y="149"/>
                    <a:pt x="6" y="154"/>
                    <a:pt x="3" y="161"/>
                  </a:cubicBezTo>
                  <a:cubicBezTo>
                    <a:pt x="0" y="168"/>
                    <a:pt x="0" y="167"/>
                    <a:pt x="4" y="176"/>
                  </a:cubicBezTo>
                  <a:cubicBezTo>
                    <a:pt x="8" y="185"/>
                    <a:pt x="11" y="183"/>
                    <a:pt x="11" y="183"/>
                  </a:cubicBezTo>
                  <a:cubicBezTo>
                    <a:pt x="13" y="182"/>
                    <a:pt x="17" y="183"/>
                    <a:pt x="17" y="183"/>
                  </a:cubicBezTo>
                  <a:cubicBezTo>
                    <a:pt x="25" y="185"/>
                    <a:pt x="42" y="181"/>
                    <a:pt x="42" y="181"/>
                  </a:cubicBezTo>
                  <a:cubicBezTo>
                    <a:pt x="42" y="183"/>
                    <a:pt x="42" y="183"/>
                    <a:pt x="42" y="183"/>
                  </a:cubicBezTo>
                  <a:cubicBezTo>
                    <a:pt x="39" y="184"/>
                    <a:pt x="40" y="191"/>
                    <a:pt x="40" y="191"/>
                  </a:cubicBezTo>
                  <a:cubicBezTo>
                    <a:pt x="38" y="196"/>
                    <a:pt x="41" y="216"/>
                    <a:pt x="39" y="230"/>
                  </a:cubicBezTo>
                  <a:cubicBezTo>
                    <a:pt x="37" y="244"/>
                    <a:pt x="48" y="258"/>
                    <a:pt x="48" y="258"/>
                  </a:cubicBezTo>
                  <a:cubicBezTo>
                    <a:pt x="49" y="260"/>
                    <a:pt x="48" y="275"/>
                    <a:pt x="48" y="275"/>
                  </a:cubicBezTo>
                  <a:cubicBezTo>
                    <a:pt x="42" y="286"/>
                    <a:pt x="44" y="301"/>
                    <a:pt x="46" y="306"/>
                  </a:cubicBezTo>
                  <a:cubicBezTo>
                    <a:pt x="48" y="311"/>
                    <a:pt x="53" y="328"/>
                    <a:pt x="54" y="336"/>
                  </a:cubicBezTo>
                  <a:cubicBezTo>
                    <a:pt x="56" y="343"/>
                    <a:pt x="51" y="355"/>
                    <a:pt x="49" y="359"/>
                  </a:cubicBezTo>
                  <a:cubicBezTo>
                    <a:pt x="47" y="364"/>
                    <a:pt x="43" y="376"/>
                    <a:pt x="43" y="376"/>
                  </a:cubicBezTo>
                  <a:cubicBezTo>
                    <a:pt x="39" y="387"/>
                    <a:pt x="68" y="383"/>
                    <a:pt x="68" y="383"/>
                  </a:cubicBezTo>
                  <a:cubicBezTo>
                    <a:pt x="73" y="380"/>
                    <a:pt x="71" y="374"/>
                    <a:pt x="71" y="367"/>
                  </a:cubicBezTo>
                  <a:cubicBezTo>
                    <a:pt x="72" y="360"/>
                    <a:pt x="75" y="359"/>
                    <a:pt x="75" y="354"/>
                  </a:cubicBezTo>
                  <a:cubicBezTo>
                    <a:pt x="74" y="350"/>
                    <a:pt x="70" y="338"/>
                    <a:pt x="69" y="332"/>
                  </a:cubicBezTo>
                  <a:cubicBezTo>
                    <a:pt x="67" y="326"/>
                    <a:pt x="67" y="321"/>
                    <a:pt x="70" y="314"/>
                  </a:cubicBezTo>
                  <a:cubicBezTo>
                    <a:pt x="73" y="306"/>
                    <a:pt x="77" y="290"/>
                    <a:pt x="75" y="285"/>
                  </a:cubicBezTo>
                  <a:cubicBezTo>
                    <a:pt x="74" y="280"/>
                    <a:pt x="75" y="275"/>
                    <a:pt x="75" y="275"/>
                  </a:cubicBezTo>
                  <a:cubicBezTo>
                    <a:pt x="76" y="273"/>
                    <a:pt x="82" y="262"/>
                    <a:pt x="82" y="262"/>
                  </a:cubicBezTo>
                  <a:cubicBezTo>
                    <a:pt x="85" y="260"/>
                    <a:pt x="89" y="240"/>
                    <a:pt x="89" y="239"/>
                  </a:cubicBezTo>
                  <a:cubicBezTo>
                    <a:pt x="90" y="238"/>
                    <a:pt x="91" y="224"/>
                    <a:pt x="94" y="221"/>
                  </a:cubicBezTo>
                  <a:cubicBezTo>
                    <a:pt x="97" y="219"/>
                    <a:pt x="98" y="226"/>
                    <a:pt x="98" y="227"/>
                  </a:cubicBezTo>
                  <a:cubicBezTo>
                    <a:pt x="98" y="228"/>
                    <a:pt x="99" y="233"/>
                    <a:pt x="99" y="233"/>
                  </a:cubicBezTo>
                  <a:cubicBezTo>
                    <a:pt x="98" y="237"/>
                    <a:pt x="103" y="261"/>
                    <a:pt x="103" y="261"/>
                  </a:cubicBezTo>
                  <a:cubicBezTo>
                    <a:pt x="100" y="266"/>
                    <a:pt x="103" y="281"/>
                    <a:pt x="103" y="281"/>
                  </a:cubicBezTo>
                  <a:cubicBezTo>
                    <a:pt x="105" y="285"/>
                    <a:pt x="105" y="292"/>
                    <a:pt x="105" y="292"/>
                  </a:cubicBezTo>
                  <a:cubicBezTo>
                    <a:pt x="99" y="303"/>
                    <a:pt x="102" y="348"/>
                    <a:pt x="102" y="354"/>
                  </a:cubicBezTo>
                  <a:cubicBezTo>
                    <a:pt x="101" y="360"/>
                    <a:pt x="100" y="378"/>
                    <a:pt x="97" y="382"/>
                  </a:cubicBezTo>
                  <a:cubicBezTo>
                    <a:pt x="94" y="386"/>
                    <a:pt x="93" y="390"/>
                    <a:pt x="92" y="395"/>
                  </a:cubicBezTo>
                  <a:cubicBezTo>
                    <a:pt x="91" y="400"/>
                    <a:pt x="89" y="409"/>
                    <a:pt x="89" y="409"/>
                  </a:cubicBezTo>
                  <a:cubicBezTo>
                    <a:pt x="84" y="413"/>
                    <a:pt x="82" y="426"/>
                    <a:pt x="82" y="426"/>
                  </a:cubicBezTo>
                  <a:cubicBezTo>
                    <a:pt x="81" y="436"/>
                    <a:pt x="115" y="430"/>
                    <a:pt x="115" y="430"/>
                  </a:cubicBezTo>
                  <a:cubicBezTo>
                    <a:pt x="120" y="426"/>
                    <a:pt x="118" y="418"/>
                    <a:pt x="117" y="413"/>
                  </a:cubicBezTo>
                  <a:cubicBezTo>
                    <a:pt x="117" y="407"/>
                    <a:pt x="116" y="389"/>
                    <a:pt x="116" y="389"/>
                  </a:cubicBezTo>
                  <a:cubicBezTo>
                    <a:pt x="112" y="381"/>
                    <a:pt x="120" y="363"/>
                    <a:pt x="120" y="363"/>
                  </a:cubicBezTo>
                  <a:cubicBezTo>
                    <a:pt x="141" y="300"/>
                    <a:pt x="132" y="287"/>
                    <a:pt x="132" y="287"/>
                  </a:cubicBezTo>
                  <a:cubicBezTo>
                    <a:pt x="132" y="287"/>
                    <a:pt x="132" y="280"/>
                    <a:pt x="132" y="275"/>
                  </a:cubicBezTo>
                  <a:cubicBezTo>
                    <a:pt x="132" y="269"/>
                    <a:pt x="128" y="271"/>
                    <a:pt x="138" y="252"/>
                  </a:cubicBezTo>
                  <a:cubicBezTo>
                    <a:pt x="148" y="234"/>
                    <a:pt x="150" y="208"/>
                    <a:pt x="150" y="207"/>
                  </a:cubicBezTo>
                  <a:cubicBezTo>
                    <a:pt x="151" y="206"/>
                    <a:pt x="151" y="205"/>
                    <a:pt x="150" y="203"/>
                  </a:cubicBezTo>
                  <a:cubicBezTo>
                    <a:pt x="149" y="201"/>
                    <a:pt x="150" y="203"/>
                    <a:pt x="152" y="201"/>
                  </a:cubicBezTo>
                  <a:cubicBezTo>
                    <a:pt x="153" y="199"/>
                    <a:pt x="152" y="195"/>
                    <a:pt x="152" y="194"/>
                  </a:cubicBezTo>
                  <a:cubicBezTo>
                    <a:pt x="153" y="192"/>
                    <a:pt x="153" y="188"/>
                    <a:pt x="153" y="186"/>
                  </a:cubicBezTo>
                  <a:cubicBezTo>
                    <a:pt x="153" y="184"/>
                    <a:pt x="153" y="180"/>
                    <a:pt x="153" y="178"/>
                  </a:cubicBezTo>
                  <a:cubicBezTo>
                    <a:pt x="153" y="176"/>
                    <a:pt x="151" y="176"/>
                    <a:pt x="152" y="171"/>
                  </a:cubicBezTo>
                  <a:cubicBezTo>
                    <a:pt x="153" y="167"/>
                    <a:pt x="151" y="162"/>
                    <a:pt x="151" y="162"/>
                  </a:cubicBezTo>
                  <a:cubicBezTo>
                    <a:pt x="152" y="153"/>
                    <a:pt x="143" y="143"/>
                    <a:pt x="144" y="141"/>
                  </a:cubicBezTo>
                  <a:cubicBezTo>
                    <a:pt x="144" y="138"/>
                    <a:pt x="143" y="128"/>
                    <a:pt x="142" y="126"/>
                  </a:cubicBezTo>
                  <a:cubicBezTo>
                    <a:pt x="142" y="125"/>
                    <a:pt x="146" y="113"/>
                    <a:pt x="146" y="113"/>
                  </a:cubicBezTo>
                  <a:cubicBezTo>
                    <a:pt x="149" y="110"/>
                    <a:pt x="156" y="89"/>
                    <a:pt x="157" y="88"/>
                  </a:cubicBezTo>
                  <a:cubicBezTo>
                    <a:pt x="157" y="87"/>
                    <a:pt x="167" y="78"/>
                    <a:pt x="167" y="78"/>
                  </a:cubicBezTo>
                  <a:cubicBezTo>
                    <a:pt x="167" y="80"/>
                    <a:pt x="175" y="106"/>
                    <a:pt x="175" y="109"/>
                  </a:cubicBezTo>
                  <a:cubicBezTo>
                    <a:pt x="176" y="112"/>
                    <a:pt x="176" y="115"/>
                    <a:pt x="173" y="117"/>
                  </a:cubicBezTo>
                  <a:cubicBezTo>
                    <a:pt x="170" y="119"/>
                    <a:pt x="168" y="124"/>
                    <a:pt x="167" y="126"/>
                  </a:cubicBezTo>
                  <a:cubicBezTo>
                    <a:pt x="165" y="128"/>
                    <a:pt x="164" y="131"/>
                    <a:pt x="162" y="132"/>
                  </a:cubicBezTo>
                  <a:cubicBezTo>
                    <a:pt x="160" y="133"/>
                    <a:pt x="157" y="135"/>
                    <a:pt x="157" y="135"/>
                  </a:cubicBezTo>
                  <a:cubicBezTo>
                    <a:pt x="154" y="143"/>
                    <a:pt x="165" y="135"/>
                    <a:pt x="165" y="135"/>
                  </a:cubicBezTo>
                  <a:cubicBezTo>
                    <a:pt x="167" y="133"/>
                    <a:pt x="170" y="132"/>
                    <a:pt x="170" y="132"/>
                  </a:cubicBezTo>
                  <a:cubicBezTo>
                    <a:pt x="178" y="132"/>
                    <a:pt x="176" y="138"/>
                    <a:pt x="176" y="138"/>
                  </a:cubicBezTo>
                  <a:cubicBezTo>
                    <a:pt x="169" y="136"/>
                    <a:pt x="172" y="139"/>
                    <a:pt x="172" y="139"/>
                  </a:cubicBezTo>
                  <a:cubicBezTo>
                    <a:pt x="175" y="139"/>
                    <a:pt x="176" y="144"/>
                    <a:pt x="176" y="144"/>
                  </a:cubicBezTo>
                  <a:cubicBezTo>
                    <a:pt x="175" y="145"/>
                    <a:pt x="169" y="143"/>
                    <a:pt x="169" y="143"/>
                  </a:cubicBezTo>
                  <a:cubicBezTo>
                    <a:pt x="164" y="143"/>
                    <a:pt x="172" y="147"/>
                    <a:pt x="172" y="147"/>
                  </a:cubicBezTo>
                  <a:cubicBezTo>
                    <a:pt x="168" y="147"/>
                    <a:pt x="168" y="147"/>
                    <a:pt x="168" y="147"/>
                  </a:cubicBezTo>
                  <a:cubicBezTo>
                    <a:pt x="160" y="147"/>
                    <a:pt x="171" y="151"/>
                    <a:pt x="171" y="151"/>
                  </a:cubicBezTo>
                  <a:cubicBezTo>
                    <a:pt x="163" y="156"/>
                    <a:pt x="173" y="154"/>
                    <a:pt x="174" y="154"/>
                  </a:cubicBezTo>
                  <a:cubicBezTo>
                    <a:pt x="176" y="153"/>
                    <a:pt x="181" y="148"/>
                    <a:pt x="181" y="148"/>
                  </a:cubicBezTo>
                  <a:cubicBezTo>
                    <a:pt x="186" y="142"/>
                    <a:pt x="186" y="142"/>
                    <a:pt x="186" y="142"/>
                  </a:cubicBezTo>
                  <a:cubicBezTo>
                    <a:pt x="189" y="138"/>
                    <a:pt x="188" y="123"/>
                    <a:pt x="189" y="118"/>
                  </a:cubicBezTo>
                  <a:cubicBezTo>
                    <a:pt x="189" y="112"/>
                    <a:pt x="188" y="100"/>
                    <a:pt x="188" y="100"/>
                  </a:cubicBezTo>
                  <a:cubicBezTo>
                    <a:pt x="194" y="73"/>
                    <a:pt x="189" y="53"/>
                    <a:pt x="189" y="53"/>
                  </a:cubicBezTo>
                  <a:close/>
                  <a:moveTo>
                    <a:pt x="50" y="151"/>
                  </a:moveTo>
                  <a:cubicBezTo>
                    <a:pt x="50" y="151"/>
                    <a:pt x="43" y="152"/>
                    <a:pt x="42" y="153"/>
                  </a:cubicBezTo>
                  <a:cubicBezTo>
                    <a:pt x="40" y="155"/>
                    <a:pt x="35" y="155"/>
                    <a:pt x="33" y="154"/>
                  </a:cubicBezTo>
                  <a:cubicBezTo>
                    <a:pt x="33" y="154"/>
                    <a:pt x="48" y="141"/>
                    <a:pt x="48" y="122"/>
                  </a:cubicBezTo>
                  <a:cubicBezTo>
                    <a:pt x="48" y="122"/>
                    <a:pt x="50" y="115"/>
                    <a:pt x="55" y="119"/>
                  </a:cubicBezTo>
                  <a:cubicBezTo>
                    <a:pt x="55" y="119"/>
                    <a:pt x="55" y="126"/>
                    <a:pt x="57" y="129"/>
                  </a:cubicBezTo>
                  <a:cubicBezTo>
                    <a:pt x="57" y="129"/>
                    <a:pt x="55" y="146"/>
                    <a:pt x="50" y="151"/>
                  </a:cubicBezTo>
                  <a:close/>
                </a:path>
              </a:pathLst>
            </a:custGeom>
            <a:solidFill>
              <a:srgbClr val="4276AA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任意多边形 51"/>
            <p:cNvSpPr/>
            <p:nvPr>
              <p:custDataLst>
                <p:tags r:id="rId19"/>
              </p:custDataLst>
            </p:nvPr>
          </p:nvSpPr>
          <p:spPr bwMode="auto">
            <a:xfrm>
              <a:off x="14353" y="2925"/>
              <a:ext cx="1835" cy="2023"/>
            </a:xfrm>
            <a:custGeom>
              <a:avLst/>
              <a:gdLst>
                <a:gd name="T0" fmla="*/ 539 w 1159"/>
                <a:gd name="T1" fmla="*/ 152 h 1485"/>
                <a:gd name="T2" fmla="*/ 636 w 1159"/>
                <a:gd name="T3" fmla="*/ 220 h 1485"/>
                <a:gd name="T4" fmla="*/ 635 w 1159"/>
                <a:gd name="T5" fmla="*/ 258 h 1485"/>
                <a:gd name="T6" fmla="*/ 599 w 1159"/>
                <a:gd name="T7" fmla="*/ 303 h 1485"/>
                <a:gd name="T8" fmla="*/ 634 w 1159"/>
                <a:gd name="T9" fmla="*/ 331 h 1485"/>
                <a:gd name="T10" fmla="*/ 884 w 1159"/>
                <a:gd name="T11" fmla="*/ 348 h 1485"/>
                <a:gd name="T12" fmla="*/ 1030 w 1159"/>
                <a:gd name="T13" fmla="*/ 255 h 1485"/>
                <a:gd name="T14" fmla="*/ 1103 w 1159"/>
                <a:gd name="T15" fmla="*/ 234 h 1485"/>
                <a:gd name="T16" fmla="*/ 1104 w 1159"/>
                <a:gd name="T17" fmla="*/ 252 h 1485"/>
                <a:gd name="T18" fmla="*/ 1100 w 1159"/>
                <a:gd name="T19" fmla="*/ 287 h 1485"/>
                <a:gd name="T20" fmla="*/ 1061 w 1159"/>
                <a:gd name="T21" fmla="*/ 294 h 1485"/>
                <a:gd name="T22" fmla="*/ 1033 w 1159"/>
                <a:gd name="T23" fmla="*/ 303 h 1485"/>
                <a:gd name="T24" fmla="*/ 987 w 1159"/>
                <a:gd name="T25" fmla="*/ 351 h 1485"/>
                <a:gd name="T26" fmla="*/ 909 w 1159"/>
                <a:gd name="T27" fmla="*/ 404 h 1485"/>
                <a:gd name="T28" fmla="*/ 836 w 1159"/>
                <a:gd name="T29" fmla="*/ 410 h 1485"/>
                <a:gd name="T30" fmla="*/ 690 w 1159"/>
                <a:gd name="T31" fmla="*/ 415 h 1485"/>
                <a:gd name="T32" fmla="*/ 687 w 1159"/>
                <a:gd name="T33" fmla="*/ 504 h 1485"/>
                <a:gd name="T34" fmla="*/ 682 w 1159"/>
                <a:gd name="T35" fmla="*/ 696 h 1485"/>
                <a:gd name="T36" fmla="*/ 683 w 1159"/>
                <a:gd name="T37" fmla="*/ 823 h 1485"/>
                <a:gd name="T38" fmla="*/ 667 w 1159"/>
                <a:gd name="T39" fmla="*/ 849 h 1485"/>
                <a:gd name="T40" fmla="*/ 624 w 1159"/>
                <a:gd name="T41" fmla="*/ 1084 h 1485"/>
                <a:gd name="T42" fmla="*/ 575 w 1159"/>
                <a:gd name="T43" fmla="*/ 1048 h 1485"/>
                <a:gd name="T44" fmla="*/ 567 w 1159"/>
                <a:gd name="T45" fmla="*/ 1000 h 1485"/>
                <a:gd name="T46" fmla="*/ 554 w 1159"/>
                <a:gd name="T47" fmla="*/ 954 h 1485"/>
                <a:gd name="T48" fmla="*/ 538 w 1159"/>
                <a:gd name="T49" fmla="*/ 1012 h 1485"/>
                <a:gd name="T50" fmla="*/ 538 w 1159"/>
                <a:gd name="T51" fmla="*/ 1085 h 1485"/>
                <a:gd name="T52" fmla="*/ 538 w 1159"/>
                <a:gd name="T53" fmla="*/ 1163 h 1485"/>
                <a:gd name="T54" fmla="*/ 523 w 1159"/>
                <a:gd name="T55" fmla="*/ 1357 h 1485"/>
                <a:gd name="T56" fmla="*/ 552 w 1159"/>
                <a:gd name="T57" fmla="*/ 1417 h 1485"/>
                <a:gd name="T58" fmla="*/ 557 w 1159"/>
                <a:gd name="T59" fmla="*/ 1460 h 1485"/>
                <a:gd name="T60" fmla="*/ 477 w 1159"/>
                <a:gd name="T61" fmla="*/ 1470 h 1485"/>
                <a:gd name="T62" fmla="*/ 473 w 1159"/>
                <a:gd name="T63" fmla="*/ 1434 h 1485"/>
                <a:gd name="T64" fmla="*/ 469 w 1159"/>
                <a:gd name="T65" fmla="*/ 1399 h 1485"/>
                <a:gd name="T66" fmla="*/ 473 w 1159"/>
                <a:gd name="T67" fmla="*/ 1369 h 1485"/>
                <a:gd name="T68" fmla="*/ 454 w 1159"/>
                <a:gd name="T69" fmla="*/ 1166 h 1485"/>
                <a:gd name="T70" fmla="*/ 467 w 1159"/>
                <a:gd name="T71" fmla="*/ 1045 h 1485"/>
                <a:gd name="T72" fmla="*/ 429 w 1159"/>
                <a:gd name="T73" fmla="*/ 847 h 1485"/>
                <a:gd name="T74" fmla="*/ 385 w 1159"/>
                <a:gd name="T75" fmla="*/ 838 h 1485"/>
                <a:gd name="T76" fmla="*/ 390 w 1159"/>
                <a:gd name="T77" fmla="*/ 752 h 1485"/>
                <a:gd name="T78" fmla="*/ 431 w 1159"/>
                <a:gd name="T79" fmla="*/ 682 h 1485"/>
                <a:gd name="T80" fmla="*/ 441 w 1159"/>
                <a:gd name="T81" fmla="*/ 658 h 1485"/>
                <a:gd name="T82" fmla="*/ 413 w 1159"/>
                <a:gd name="T83" fmla="*/ 548 h 1485"/>
                <a:gd name="T84" fmla="*/ 419 w 1159"/>
                <a:gd name="T85" fmla="*/ 438 h 1485"/>
                <a:gd name="T86" fmla="*/ 238 w 1159"/>
                <a:gd name="T87" fmla="*/ 322 h 1485"/>
                <a:gd name="T88" fmla="*/ 197 w 1159"/>
                <a:gd name="T89" fmla="*/ 293 h 1485"/>
                <a:gd name="T90" fmla="*/ 75 w 1159"/>
                <a:gd name="T91" fmla="*/ 139 h 1485"/>
                <a:gd name="T92" fmla="*/ 11 w 1159"/>
                <a:gd name="T93" fmla="*/ 85 h 1485"/>
                <a:gd name="T94" fmla="*/ 16 w 1159"/>
                <a:gd name="T95" fmla="*/ 63 h 1485"/>
                <a:gd name="T96" fmla="*/ 28 w 1159"/>
                <a:gd name="T97" fmla="*/ 47 h 1485"/>
                <a:gd name="T98" fmla="*/ 24 w 1159"/>
                <a:gd name="T99" fmla="*/ 21 h 1485"/>
                <a:gd name="T100" fmla="*/ 114 w 1159"/>
                <a:gd name="T101" fmla="*/ 128 h 1485"/>
                <a:gd name="T102" fmla="*/ 250 w 1159"/>
                <a:gd name="T103" fmla="*/ 265 h 1485"/>
                <a:gd name="T104" fmla="*/ 466 w 1159"/>
                <a:gd name="T105" fmla="*/ 330 h 1485"/>
                <a:gd name="T106" fmla="*/ 506 w 1159"/>
                <a:gd name="T107" fmla="*/ 290 h 1485"/>
                <a:gd name="T108" fmla="*/ 492 w 1159"/>
                <a:gd name="T109" fmla="*/ 255 h 1485"/>
                <a:gd name="T110" fmla="*/ 501 w 1159"/>
                <a:gd name="T111" fmla="*/ 227 h 1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485">
                  <a:moveTo>
                    <a:pt x="503" y="222"/>
                  </a:moveTo>
                  <a:cubicBezTo>
                    <a:pt x="503" y="222"/>
                    <a:pt x="512" y="165"/>
                    <a:pt x="539" y="152"/>
                  </a:cubicBezTo>
                  <a:cubicBezTo>
                    <a:pt x="539" y="152"/>
                    <a:pt x="583" y="121"/>
                    <a:pt x="621" y="170"/>
                  </a:cubicBezTo>
                  <a:cubicBezTo>
                    <a:pt x="621" y="170"/>
                    <a:pt x="639" y="189"/>
                    <a:pt x="636" y="220"/>
                  </a:cubicBezTo>
                  <a:cubicBezTo>
                    <a:pt x="636" y="222"/>
                    <a:pt x="632" y="236"/>
                    <a:pt x="633" y="235"/>
                  </a:cubicBezTo>
                  <a:cubicBezTo>
                    <a:pt x="649" y="231"/>
                    <a:pt x="639" y="254"/>
                    <a:pt x="635" y="258"/>
                  </a:cubicBezTo>
                  <a:cubicBezTo>
                    <a:pt x="627" y="267"/>
                    <a:pt x="627" y="267"/>
                    <a:pt x="622" y="265"/>
                  </a:cubicBezTo>
                  <a:cubicBezTo>
                    <a:pt x="622" y="265"/>
                    <a:pt x="603" y="290"/>
                    <a:pt x="599" y="303"/>
                  </a:cubicBezTo>
                  <a:cubicBezTo>
                    <a:pt x="594" y="318"/>
                    <a:pt x="602" y="323"/>
                    <a:pt x="602" y="323"/>
                  </a:cubicBezTo>
                  <a:cubicBezTo>
                    <a:pt x="602" y="323"/>
                    <a:pt x="620" y="322"/>
                    <a:pt x="634" y="331"/>
                  </a:cubicBezTo>
                  <a:cubicBezTo>
                    <a:pt x="647" y="340"/>
                    <a:pt x="703" y="324"/>
                    <a:pt x="730" y="340"/>
                  </a:cubicBezTo>
                  <a:cubicBezTo>
                    <a:pt x="757" y="356"/>
                    <a:pt x="873" y="348"/>
                    <a:pt x="884" y="348"/>
                  </a:cubicBezTo>
                  <a:cubicBezTo>
                    <a:pt x="894" y="348"/>
                    <a:pt x="966" y="297"/>
                    <a:pt x="966" y="297"/>
                  </a:cubicBezTo>
                  <a:cubicBezTo>
                    <a:pt x="966" y="297"/>
                    <a:pt x="1020" y="265"/>
                    <a:pt x="1030" y="255"/>
                  </a:cubicBezTo>
                  <a:cubicBezTo>
                    <a:pt x="1037" y="247"/>
                    <a:pt x="1159" y="190"/>
                    <a:pt x="1150" y="212"/>
                  </a:cubicBezTo>
                  <a:cubicBezTo>
                    <a:pt x="1150" y="212"/>
                    <a:pt x="1107" y="233"/>
                    <a:pt x="1103" y="234"/>
                  </a:cubicBezTo>
                  <a:cubicBezTo>
                    <a:pt x="1101" y="235"/>
                    <a:pt x="1111" y="237"/>
                    <a:pt x="1110" y="244"/>
                  </a:cubicBezTo>
                  <a:cubicBezTo>
                    <a:pt x="1110" y="248"/>
                    <a:pt x="1100" y="250"/>
                    <a:pt x="1104" y="252"/>
                  </a:cubicBezTo>
                  <a:cubicBezTo>
                    <a:pt x="1120" y="262"/>
                    <a:pt x="1104" y="265"/>
                    <a:pt x="1107" y="268"/>
                  </a:cubicBezTo>
                  <a:cubicBezTo>
                    <a:pt x="1122" y="280"/>
                    <a:pt x="1100" y="287"/>
                    <a:pt x="1100" y="287"/>
                  </a:cubicBezTo>
                  <a:cubicBezTo>
                    <a:pt x="1100" y="287"/>
                    <a:pt x="1085" y="291"/>
                    <a:pt x="1079" y="291"/>
                  </a:cubicBezTo>
                  <a:cubicBezTo>
                    <a:pt x="1073" y="291"/>
                    <a:pt x="1061" y="294"/>
                    <a:pt x="1061" y="294"/>
                  </a:cubicBezTo>
                  <a:cubicBezTo>
                    <a:pt x="1061" y="294"/>
                    <a:pt x="1057" y="296"/>
                    <a:pt x="1050" y="298"/>
                  </a:cubicBezTo>
                  <a:cubicBezTo>
                    <a:pt x="1043" y="301"/>
                    <a:pt x="1033" y="303"/>
                    <a:pt x="1033" y="303"/>
                  </a:cubicBezTo>
                  <a:cubicBezTo>
                    <a:pt x="1033" y="303"/>
                    <a:pt x="1032" y="303"/>
                    <a:pt x="1026" y="309"/>
                  </a:cubicBezTo>
                  <a:cubicBezTo>
                    <a:pt x="1021" y="315"/>
                    <a:pt x="995" y="343"/>
                    <a:pt x="987" y="351"/>
                  </a:cubicBezTo>
                  <a:cubicBezTo>
                    <a:pt x="977" y="360"/>
                    <a:pt x="935" y="388"/>
                    <a:pt x="935" y="388"/>
                  </a:cubicBezTo>
                  <a:cubicBezTo>
                    <a:pt x="935" y="388"/>
                    <a:pt x="919" y="397"/>
                    <a:pt x="909" y="404"/>
                  </a:cubicBezTo>
                  <a:cubicBezTo>
                    <a:pt x="907" y="406"/>
                    <a:pt x="907" y="412"/>
                    <a:pt x="876" y="408"/>
                  </a:cubicBezTo>
                  <a:cubicBezTo>
                    <a:pt x="869" y="407"/>
                    <a:pt x="836" y="410"/>
                    <a:pt x="836" y="410"/>
                  </a:cubicBezTo>
                  <a:cubicBezTo>
                    <a:pt x="836" y="410"/>
                    <a:pt x="781" y="434"/>
                    <a:pt x="711" y="404"/>
                  </a:cubicBezTo>
                  <a:cubicBezTo>
                    <a:pt x="711" y="404"/>
                    <a:pt x="692" y="402"/>
                    <a:pt x="690" y="415"/>
                  </a:cubicBezTo>
                  <a:cubicBezTo>
                    <a:pt x="689" y="427"/>
                    <a:pt x="683" y="441"/>
                    <a:pt x="680" y="458"/>
                  </a:cubicBezTo>
                  <a:cubicBezTo>
                    <a:pt x="677" y="474"/>
                    <a:pt x="687" y="504"/>
                    <a:pt x="687" y="504"/>
                  </a:cubicBezTo>
                  <a:cubicBezTo>
                    <a:pt x="687" y="504"/>
                    <a:pt x="650" y="641"/>
                    <a:pt x="649" y="651"/>
                  </a:cubicBezTo>
                  <a:cubicBezTo>
                    <a:pt x="647" y="660"/>
                    <a:pt x="681" y="688"/>
                    <a:pt x="682" y="696"/>
                  </a:cubicBezTo>
                  <a:cubicBezTo>
                    <a:pt x="683" y="704"/>
                    <a:pt x="686" y="766"/>
                    <a:pt x="686" y="766"/>
                  </a:cubicBezTo>
                  <a:cubicBezTo>
                    <a:pt x="686" y="766"/>
                    <a:pt x="675" y="814"/>
                    <a:pt x="683" y="823"/>
                  </a:cubicBezTo>
                  <a:cubicBezTo>
                    <a:pt x="683" y="823"/>
                    <a:pt x="689" y="826"/>
                    <a:pt x="678" y="835"/>
                  </a:cubicBezTo>
                  <a:cubicBezTo>
                    <a:pt x="666" y="845"/>
                    <a:pt x="667" y="849"/>
                    <a:pt x="667" y="849"/>
                  </a:cubicBezTo>
                  <a:cubicBezTo>
                    <a:pt x="667" y="849"/>
                    <a:pt x="668" y="921"/>
                    <a:pt x="664" y="946"/>
                  </a:cubicBezTo>
                  <a:cubicBezTo>
                    <a:pt x="659" y="970"/>
                    <a:pt x="651" y="1078"/>
                    <a:pt x="624" y="1084"/>
                  </a:cubicBezTo>
                  <a:cubicBezTo>
                    <a:pt x="624" y="1084"/>
                    <a:pt x="603" y="1089"/>
                    <a:pt x="589" y="1068"/>
                  </a:cubicBezTo>
                  <a:cubicBezTo>
                    <a:pt x="589" y="1068"/>
                    <a:pt x="574" y="1056"/>
                    <a:pt x="575" y="1048"/>
                  </a:cubicBezTo>
                  <a:cubicBezTo>
                    <a:pt x="577" y="1040"/>
                    <a:pt x="577" y="1040"/>
                    <a:pt x="577" y="1040"/>
                  </a:cubicBezTo>
                  <a:cubicBezTo>
                    <a:pt x="577" y="1040"/>
                    <a:pt x="563" y="1013"/>
                    <a:pt x="567" y="1000"/>
                  </a:cubicBezTo>
                  <a:cubicBezTo>
                    <a:pt x="565" y="964"/>
                    <a:pt x="565" y="964"/>
                    <a:pt x="565" y="964"/>
                  </a:cubicBezTo>
                  <a:cubicBezTo>
                    <a:pt x="565" y="964"/>
                    <a:pt x="557" y="959"/>
                    <a:pt x="554" y="954"/>
                  </a:cubicBezTo>
                  <a:cubicBezTo>
                    <a:pt x="552" y="949"/>
                    <a:pt x="550" y="940"/>
                    <a:pt x="550" y="940"/>
                  </a:cubicBezTo>
                  <a:cubicBezTo>
                    <a:pt x="550" y="940"/>
                    <a:pt x="535" y="1000"/>
                    <a:pt x="538" y="1012"/>
                  </a:cubicBezTo>
                  <a:cubicBezTo>
                    <a:pt x="540" y="1024"/>
                    <a:pt x="538" y="1052"/>
                    <a:pt x="538" y="1052"/>
                  </a:cubicBezTo>
                  <a:cubicBezTo>
                    <a:pt x="538" y="1052"/>
                    <a:pt x="544" y="1072"/>
                    <a:pt x="538" y="1085"/>
                  </a:cubicBezTo>
                  <a:cubicBezTo>
                    <a:pt x="531" y="1097"/>
                    <a:pt x="530" y="1114"/>
                    <a:pt x="530" y="1114"/>
                  </a:cubicBezTo>
                  <a:cubicBezTo>
                    <a:pt x="530" y="1114"/>
                    <a:pt x="542" y="1146"/>
                    <a:pt x="538" y="1163"/>
                  </a:cubicBezTo>
                  <a:cubicBezTo>
                    <a:pt x="534" y="1181"/>
                    <a:pt x="523" y="1253"/>
                    <a:pt x="523" y="1253"/>
                  </a:cubicBezTo>
                  <a:cubicBezTo>
                    <a:pt x="523" y="1253"/>
                    <a:pt x="520" y="1350"/>
                    <a:pt x="523" y="1357"/>
                  </a:cubicBezTo>
                  <a:cubicBezTo>
                    <a:pt x="527" y="1364"/>
                    <a:pt x="546" y="1384"/>
                    <a:pt x="544" y="1393"/>
                  </a:cubicBezTo>
                  <a:cubicBezTo>
                    <a:pt x="542" y="1403"/>
                    <a:pt x="549" y="1408"/>
                    <a:pt x="552" y="1417"/>
                  </a:cubicBezTo>
                  <a:cubicBezTo>
                    <a:pt x="556" y="1425"/>
                    <a:pt x="550" y="1441"/>
                    <a:pt x="550" y="1441"/>
                  </a:cubicBezTo>
                  <a:cubicBezTo>
                    <a:pt x="550" y="1441"/>
                    <a:pt x="563" y="1457"/>
                    <a:pt x="557" y="1460"/>
                  </a:cubicBezTo>
                  <a:cubicBezTo>
                    <a:pt x="551" y="1462"/>
                    <a:pt x="508" y="1476"/>
                    <a:pt x="502" y="1481"/>
                  </a:cubicBezTo>
                  <a:cubicBezTo>
                    <a:pt x="496" y="1485"/>
                    <a:pt x="479" y="1477"/>
                    <a:pt x="477" y="1470"/>
                  </a:cubicBezTo>
                  <a:cubicBezTo>
                    <a:pt x="474" y="1463"/>
                    <a:pt x="479" y="1453"/>
                    <a:pt x="477" y="1448"/>
                  </a:cubicBezTo>
                  <a:cubicBezTo>
                    <a:pt x="474" y="1443"/>
                    <a:pt x="473" y="1434"/>
                    <a:pt x="473" y="1434"/>
                  </a:cubicBezTo>
                  <a:cubicBezTo>
                    <a:pt x="469" y="1417"/>
                    <a:pt x="469" y="1417"/>
                    <a:pt x="469" y="1417"/>
                  </a:cubicBezTo>
                  <a:cubicBezTo>
                    <a:pt x="469" y="1399"/>
                    <a:pt x="469" y="1399"/>
                    <a:pt x="469" y="1399"/>
                  </a:cubicBezTo>
                  <a:cubicBezTo>
                    <a:pt x="469" y="1399"/>
                    <a:pt x="477" y="1392"/>
                    <a:pt x="472" y="1385"/>
                  </a:cubicBezTo>
                  <a:cubicBezTo>
                    <a:pt x="467" y="1378"/>
                    <a:pt x="473" y="1369"/>
                    <a:pt x="473" y="1369"/>
                  </a:cubicBezTo>
                  <a:cubicBezTo>
                    <a:pt x="478" y="1362"/>
                    <a:pt x="478" y="1362"/>
                    <a:pt x="478" y="1362"/>
                  </a:cubicBezTo>
                  <a:cubicBezTo>
                    <a:pt x="478" y="1362"/>
                    <a:pt x="453" y="1182"/>
                    <a:pt x="454" y="1166"/>
                  </a:cubicBezTo>
                  <a:cubicBezTo>
                    <a:pt x="455" y="1149"/>
                    <a:pt x="457" y="1105"/>
                    <a:pt x="462" y="1105"/>
                  </a:cubicBezTo>
                  <a:cubicBezTo>
                    <a:pt x="468" y="1105"/>
                    <a:pt x="468" y="1055"/>
                    <a:pt x="467" y="1045"/>
                  </a:cubicBezTo>
                  <a:cubicBezTo>
                    <a:pt x="466" y="1034"/>
                    <a:pt x="461" y="1029"/>
                    <a:pt x="456" y="1017"/>
                  </a:cubicBezTo>
                  <a:cubicBezTo>
                    <a:pt x="452" y="1005"/>
                    <a:pt x="422" y="918"/>
                    <a:pt x="429" y="847"/>
                  </a:cubicBezTo>
                  <a:cubicBezTo>
                    <a:pt x="432" y="818"/>
                    <a:pt x="428" y="867"/>
                    <a:pt x="404" y="839"/>
                  </a:cubicBezTo>
                  <a:cubicBezTo>
                    <a:pt x="397" y="830"/>
                    <a:pt x="385" y="838"/>
                    <a:pt x="385" y="838"/>
                  </a:cubicBezTo>
                  <a:cubicBezTo>
                    <a:pt x="385" y="838"/>
                    <a:pt x="345" y="846"/>
                    <a:pt x="377" y="802"/>
                  </a:cubicBezTo>
                  <a:cubicBezTo>
                    <a:pt x="388" y="788"/>
                    <a:pt x="390" y="756"/>
                    <a:pt x="390" y="752"/>
                  </a:cubicBezTo>
                  <a:cubicBezTo>
                    <a:pt x="390" y="745"/>
                    <a:pt x="397" y="747"/>
                    <a:pt x="397" y="747"/>
                  </a:cubicBezTo>
                  <a:cubicBezTo>
                    <a:pt x="397" y="747"/>
                    <a:pt x="425" y="682"/>
                    <a:pt x="431" y="682"/>
                  </a:cubicBezTo>
                  <a:cubicBezTo>
                    <a:pt x="438" y="682"/>
                    <a:pt x="445" y="670"/>
                    <a:pt x="445" y="670"/>
                  </a:cubicBezTo>
                  <a:cubicBezTo>
                    <a:pt x="441" y="658"/>
                    <a:pt x="441" y="658"/>
                    <a:pt x="441" y="658"/>
                  </a:cubicBezTo>
                  <a:cubicBezTo>
                    <a:pt x="441" y="658"/>
                    <a:pt x="429" y="641"/>
                    <a:pt x="421" y="633"/>
                  </a:cubicBezTo>
                  <a:cubicBezTo>
                    <a:pt x="413" y="625"/>
                    <a:pt x="413" y="548"/>
                    <a:pt x="413" y="548"/>
                  </a:cubicBezTo>
                  <a:cubicBezTo>
                    <a:pt x="413" y="478"/>
                    <a:pt x="413" y="478"/>
                    <a:pt x="413" y="478"/>
                  </a:cubicBezTo>
                  <a:cubicBezTo>
                    <a:pt x="413" y="478"/>
                    <a:pt x="419" y="442"/>
                    <a:pt x="419" y="438"/>
                  </a:cubicBezTo>
                  <a:cubicBezTo>
                    <a:pt x="419" y="433"/>
                    <a:pt x="395" y="388"/>
                    <a:pt x="388" y="383"/>
                  </a:cubicBezTo>
                  <a:cubicBezTo>
                    <a:pt x="381" y="379"/>
                    <a:pt x="296" y="376"/>
                    <a:pt x="238" y="322"/>
                  </a:cubicBezTo>
                  <a:cubicBezTo>
                    <a:pt x="238" y="322"/>
                    <a:pt x="230" y="319"/>
                    <a:pt x="213" y="312"/>
                  </a:cubicBezTo>
                  <a:cubicBezTo>
                    <a:pt x="209" y="311"/>
                    <a:pt x="201" y="296"/>
                    <a:pt x="197" y="293"/>
                  </a:cubicBezTo>
                  <a:cubicBezTo>
                    <a:pt x="157" y="269"/>
                    <a:pt x="106" y="210"/>
                    <a:pt x="89" y="156"/>
                  </a:cubicBezTo>
                  <a:cubicBezTo>
                    <a:pt x="89" y="156"/>
                    <a:pt x="79" y="139"/>
                    <a:pt x="75" y="139"/>
                  </a:cubicBezTo>
                  <a:cubicBezTo>
                    <a:pt x="72" y="139"/>
                    <a:pt x="42" y="125"/>
                    <a:pt x="35" y="121"/>
                  </a:cubicBezTo>
                  <a:cubicBezTo>
                    <a:pt x="17" y="110"/>
                    <a:pt x="1" y="91"/>
                    <a:pt x="11" y="85"/>
                  </a:cubicBezTo>
                  <a:cubicBezTo>
                    <a:pt x="14" y="83"/>
                    <a:pt x="8" y="75"/>
                    <a:pt x="11" y="69"/>
                  </a:cubicBezTo>
                  <a:cubicBezTo>
                    <a:pt x="12" y="66"/>
                    <a:pt x="14" y="66"/>
                    <a:pt x="16" y="63"/>
                  </a:cubicBezTo>
                  <a:cubicBezTo>
                    <a:pt x="18" y="60"/>
                    <a:pt x="16" y="52"/>
                    <a:pt x="18" y="49"/>
                  </a:cubicBezTo>
                  <a:cubicBezTo>
                    <a:pt x="20" y="44"/>
                    <a:pt x="28" y="45"/>
                    <a:pt x="28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3" y="0"/>
                    <a:pt x="24" y="21"/>
                  </a:cubicBezTo>
                  <a:cubicBezTo>
                    <a:pt x="33" y="29"/>
                    <a:pt x="55" y="46"/>
                    <a:pt x="72" y="67"/>
                  </a:cubicBezTo>
                  <a:cubicBezTo>
                    <a:pt x="95" y="95"/>
                    <a:pt x="114" y="128"/>
                    <a:pt x="114" y="128"/>
                  </a:cubicBezTo>
                  <a:cubicBezTo>
                    <a:pt x="114" y="128"/>
                    <a:pt x="153" y="160"/>
                    <a:pt x="183" y="190"/>
                  </a:cubicBezTo>
                  <a:cubicBezTo>
                    <a:pt x="219" y="227"/>
                    <a:pt x="246" y="262"/>
                    <a:pt x="250" y="265"/>
                  </a:cubicBezTo>
                  <a:cubicBezTo>
                    <a:pt x="259" y="273"/>
                    <a:pt x="283" y="271"/>
                    <a:pt x="370" y="308"/>
                  </a:cubicBezTo>
                  <a:cubicBezTo>
                    <a:pt x="377" y="311"/>
                    <a:pt x="398" y="297"/>
                    <a:pt x="466" y="330"/>
                  </a:cubicBezTo>
                  <a:cubicBezTo>
                    <a:pt x="466" y="330"/>
                    <a:pt x="484" y="320"/>
                    <a:pt x="502" y="312"/>
                  </a:cubicBezTo>
                  <a:cubicBezTo>
                    <a:pt x="513" y="308"/>
                    <a:pt x="506" y="290"/>
                    <a:pt x="506" y="290"/>
                  </a:cubicBezTo>
                  <a:cubicBezTo>
                    <a:pt x="506" y="290"/>
                    <a:pt x="502" y="264"/>
                    <a:pt x="499" y="263"/>
                  </a:cubicBezTo>
                  <a:cubicBezTo>
                    <a:pt x="497" y="263"/>
                    <a:pt x="492" y="255"/>
                    <a:pt x="492" y="255"/>
                  </a:cubicBezTo>
                  <a:cubicBezTo>
                    <a:pt x="492" y="255"/>
                    <a:pt x="486" y="229"/>
                    <a:pt x="491" y="226"/>
                  </a:cubicBezTo>
                  <a:cubicBezTo>
                    <a:pt x="494" y="223"/>
                    <a:pt x="501" y="227"/>
                    <a:pt x="501" y="227"/>
                  </a:cubicBezTo>
                  <a:lnTo>
                    <a:pt x="503" y="222"/>
                  </a:lnTo>
                  <a:close/>
                </a:path>
              </a:pathLst>
            </a:custGeom>
            <a:solidFill>
              <a:srgbClr val="178AA1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" name="文本框 13"/>
          <p:cNvSpPr txBox="1"/>
          <p:nvPr/>
        </p:nvSpPr>
        <p:spPr>
          <a:xfrm>
            <a:off x="4150995" y="1675765"/>
            <a:ext cx="12630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微软雅黑" panose="020B0503020204020204" pitchFamily="34" charset="-122"/>
                <a:ea typeface="微软雅黑" panose="020B0503020204020204" pitchFamily="34" charset="-122"/>
              </a:rPr>
              <a:t>Y=f(x)</a:t>
            </a:r>
            <a:endParaRPr lang="en-US" altLang="zh-CN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eBPF</a:t>
            </a:r>
            <a:r>
              <a:rPr lang="zh-CN" altLang="en-US" smtClean="0"/>
              <a:t>应用举例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076" y="1318440"/>
            <a:ext cx="7435551" cy="5077224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83" y="1318440"/>
            <a:ext cx="3943900" cy="1505160"/>
          </a:xfrm>
          <a:prstGeom prst="rect">
            <a:avLst/>
          </a:prstGeom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83" y="4446701"/>
            <a:ext cx="3943900" cy="1733240"/>
          </a:xfrm>
          <a:prstGeom prst="rect">
            <a:avLst/>
          </a:prstGeom>
        </p:spPr>
      </p:pic>
      <p:cxnSp>
        <p:nvCxnSpPr>
          <p:cNvPr id="39" name="直接箭头连接符 38"/>
          <p:cNvCxnSpPr>
            <a:stCxn id="35" idx="3"/>
          </p:cNvCxnSpPr>
          <p:nvPr/>
        </p:nvCxnSpPr>
        <p:spPr>
          <a:xfrm flipV="1">
            <a:off x="4263183" y="2063578"/>
            <a:ext cx="370601" cy="7442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肘形连接符 41"/>
          <p:cNvCxnSpPr>
            <a:stCxn id="38" idx="3"/>
          </p:cNvCxnSpPr>
          <p:nvPr/>
        </p:nvCxnSpPr>
        <p:spPr>
          <a:xfrm flipV="1">
            <a:off x="4263183" y="2706130"/>
            <a:ext cx="815444" cy="2607191"/>
          </a:xfrm>
          <a:prstGeom prst="bentConnector2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BPF</a:t>
            </a:r>
            <a:r>
              <a:rPr lang="zh-CN" altLang="en-US" smtClean="0"/>
              <a:t>监控程序运行结果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936294" y="1711409"/>
            <a:ext cx="5348609" cy="321485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3709" y="1711409"/>
            <a:ext cx="3298358" cy="3214856"/>
          </a:xfrm>
          <a:prstGeom prst="rect">
            <a:avLst/>
          </a:prstGeom>
        </p:spPr>
      </p:pic>
      <p:sp>
        <p:nvSpPr>
          <p:cNvPr id="4" name="下箭头 3"/>
          <p:cNvSpPr/>
          <p:nvPr/>
        </p:nvSpPr>
        <p:spPr>
          <a:xfrm>
            <a:off x="7302843" y="3113903"/>
            <a:ext cx="259492" cy="284205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下箭头 6"/>
          <p:cNvSpPr/>
          <p:nvPr/>
        </p:nvSpPr>
        <p:spPr>
          <a:xfrm>
            <a:off x="9034381" y="2971800"/>
            <a:ext cx="259492" cy="284205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下箭头 7"/>
          <p:cNvSpPr/>
          <p:nvPr/>
        </p:nvSpPr>
        <p:spPr>
          <a:xfrm>
            <a:off x="10387908" y="2811161"/>
            <a:ext cx="259492" cy="284205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1483709" y="1139222"/>
            <a:ext cx="32983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smtClean="0"/>
              <a:t>BPF</a:t>
            </a:r>
            <a:r>
              <a:rPr lang="zh-CN" altLang="en-US" sz="1600" smtClean="0"/>
              <a:t>程序数据输出示例</a:t>
            </a:r>
            <a:endParaRPr lang="en-US" altLang="zh-CN" sz="1600" smtClean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inux</a:t>
            </a:r>
            <a:r>
              <a:rPr lang="zh-CN" altLang="en-US"/>
              <a:t>内核之旅社区（http://www.kerneltravel.net/）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31240" y="1282065"/>
            <a:ext cx="9932035" cy="4087495"/>
          </a:xfrm>
          <a:prstGeom prst="rect">
            <a:avLst/>
          </a:prstGeom>
        </p:spPr>
      </p:pic>
      <p:cxnSp>
        <p:nvCxnSpPr>
          <p:cNvPr id="4" name="直接连接符 3"/>
          <p:cNvCxnSpPr/>
          <p:nvPr/>
        </p:nvCxnSpPr>
        <p:spPr>
          <a:xfrm>
            <a:off x="6100445" y="4076065"/>
            <a:ext cx="847725" cy="1362075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/>
        </p:nvCxnSpPr>
        <p:spPr>
          <a:xfrm>
            <a:off x="6948170" y="5438140"/>
            <a:ext cx="118110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8167370" y="5190490"/>
            <a:ext cx="25577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>
                <a:solidFill>
                  <a:srgbClr val="FF0000"/>
                </a:solidFill>
              </a:rPr>
              <a:t>Linux</a:t>
            </a:r>
            <a:r>
              <a:rPr lang="zh-CN" altLang="zh-CN">
                <a:solidFill>
                  <a:srgbClr val="FF0000"/>
                </a:solidFill>
              </a:rPr>
              <a:t>内核补丁情景分析</a:t>
            </a:r>
            <a:endParaRPr lang="zh-CN" altLang="zh-CN">
              <a:solidFill>
                <a:srgbClr val="FF0000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3830320" y="5872480"/>
            <a:ext cx="4780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暑期</a:t>
            </a:r>
            <a:r>
              <a:rPr lang="en-US" altLang="zh-CN"/>
              <a:t>2021</a:t>
            </a:r>
            <a:r>
              <a:rPr lang="zh-CN" altLang="en-US"/>
              <a:t>项目：http://kerneltravel.net/project/</a:t>
            </a:r>
            <a:endParaRPr lang="zh-CN" altLang="en-US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zh-CN" altLang="en-US"/>
              <a:t>总     结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1551305" y="1559560"/>
            <a:ext cx="8766175" cy="4181475"/>
            <a:chOff x="2416" y="2925"/>
            <a:chExt cx="13805" cy="6585"/>
          </a:xfrm>
        </p:grpSpPr>
        <p:pic>
          <p:nvPicPr>
            <p:cNvPr id="9" name="图片 8" descr="课外活动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5763" y="3080"/>
              <a:ext cx="1423" cy="1463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0" name="矩形 9"/>
            <p:cNvSpPr/>
            <p:nvPr>
              <p:custDataLst>
                <p:tags r:id="rId2"/>
              </p:custDataLst>
            </p:nvPr>
          </p:nvSpPr>
          <p:spPr>
            <a:xfrm>
              <a:off x="2826" y="8155"/>
              <a:ext cx="13035" cy="135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24583" name="直接连接符 1"/>
            <p:cNvCxnSpPr/>
            <p:nvPr>
              <p:custDataLst>
                <p:tags r:id="rId3"/>
              </p:custDataLst>
            </p:nvPr>
          </p:nvCxnSpPr>
          <p:spPr>
            <a:xfrm rot="10800000">
              <a:off x="4293" y="6860"/>
              <a:ext cx="0" cy="1308"/>
            </a:xfrm>
            <a:prstGeom prst="line">
              <a:avLst/>
            </a:prstGeom>
            <a:ln w="25400" cap="flat" cmpd="sng">
              <a:solidFill>
                <a:srgbClr val="69A35B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11" name="椭圆 10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4101" y="7993"/>
              <a:ext cx="385" cy="385"/>
            </a:xfrm>
            <a:prstGeom prst="ellipse">
              <a:avLst/>
            </a:prstGeom>
            <a:solidFill>
              <a:srgbClr val="69A35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2" name="任意多边形 1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3631" y="5750"/>
              <a:ext cx="1325" cy="1470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69A35B"/>
            </a:solidFill>
            <a:ln w="12700" cap="flat" cmpd="sng" algn="ctr">
              <a:solidFill>
                <a:srgbClr val="FDFDFD"/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24586" name="直接连接符 4"/>
            <p:cNvCxnSpPr/>
            <p:nvPr>
              <p:custDataLst>
                <p:tags r:id="rId6"/>
              </p:custDataLst>
            </p:nvPr>
          </p:nvCxnSpPr>
          <p:spPr>
            <a:xfrm rot="10800000">
              <a:off x="10861" y="6035"/>
              <a:ext cx="0" cy="1965"/>
            </a:xfrm>
            <a:prstGeom prst="line">
              <a:avLst/>
            </a:prstGeom>
            <a:ln w="25400" cap="flat" cmpd="sng">
              <a:solidFill>
                <a:srgbClr val="3498DB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20" name="椭圆 19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10668" y="7998"/>
              <a:ext cx="385" cy="383"/>
            </a:xfrm>
            <a:prstGeom prst="ellipse">
              <a:avLst/>
            </a:prstGeom>
            <a:solidFill>
              <a:srgbClr val="349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1" name="任意多边形 20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10198" y="4590"/>
              <a:ext cx="1325" cy="1470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3498DB"/>
            </a:solidFill>
            <a:ln w="12700" cap="flat" cmpd="sng" algn="ctr">
              <a:solidFill>
                <a:srgbClr val="FDFDFD"/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24589" name="直接连接符 24"/>
            <p:cNvCxnSpPr/>
            <p:nvPr>
              <p:custDataLst>
                <p:tags r:id="rId9"/>
              </p:custDataLst>
            </p:nvPr>
          </p:nvCxnSpPr>
          <p:spPr>
            <a:xfrm rot="10800000">
              <a:off x="7576" y="6573"/>
              <a:ext cx="0" cy="1425"/>
            </a:xfrm>
            <a:prstGeom prst="line">
              <a:avLst/>
            </a:prstGeom>
            <a:ln w="25400" cap="flat" cmpd="sng">
              <a:solidFill>
                <a:srgbClr val="1AA3AA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28" name="椭圆 27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7383" y="7993"/>
              <a:ext cx="385" cy="385"/>
            </a:xfrm>
            <a:prstGeom prst="ellipse">
              <a:avLst/>
            </a:prstGeom>
            <a:solidFill>
              <a:srgbClr val="1AA3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7" name="任意多边形 36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6916" y="5138"/>
              <a:ext cx="1323" cy="1470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1AA3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cxnSp>
          <p:nvCxnSpPr>
            <p:cNvPr id="24592" name="曲线连接符 27"/>
            <p:cNvCxnSpPr/>
            <p:nvPr>
              <p:custDataLst>
                <p:tags r:id="rId12"/>
              </p:custDataLst>
            </p:nvPr>
          </p:nvCxnSpPr>
          <p:spPr>
            <a:xfrm rot="19200000" flipV="1">
              <a:off x="13633" y="5360"/>
              <a:ext cx="1088" cy="1008"/>
            </a:xfrm>
            <a:prstGeom prst="curvedConnector3">
              <a:avLst>
                <a:gd name="adj1" fmla="val 50000"/>
              </a:avLst>
            </a:prstGeom>
            <a:ln w="25400" cap="flat" cmpd="sng">
              <a:solidFill>
                <a:srgbClr val="FFC000"/>
              </a:solidFill>
              <a:prstDash val="sysDash"/>
              <a:miter/>
              <a:headEnd type="none" w="med" len="med"/>
              <a:tailEnd type="none" w="med" len="med"/>
            </a:ln>
          </p:spPr>
        </p:cxnSp>
        <p:sp>
          <p:nvSpPr>
            <p:cNvPr id="38" name="任意多边形 37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13436" y="3863"/>
              <a:ext cx="1323" cy="1473"/>
            </a:xfrm>
            <a:custGeom>
              <a:avLst/>
              <a:gdLst>
                <a:gd name="connsiteX0" fmla="*/ 713969 w 1427938"/>
                <a:gd name="connsiteY0" fmla="*/ 0 h 1586071"/>
                <a:gd name="connsiteX1" fmla="*/ 1427938 w 1427938"/>
                <a:gd name="connsiteY1" fmla="*/ 713969 h 1586071"/>
                <a:gd name="connsiteX2" fmla="*/ 991878 w 1427938"/>
                <a:gd name="connsiteY2" fmla="*/ 1371831 h 1586071"/>
                <a:gd name="connsiteX3" fmla="*/ 886675 w 1427938"/>
                <a:gd name="connsiteY3" fmla="*/ 1404488 h 1586071"/>
                <a:gd name="connsiteX4" fmla="*/ 713968 w 1427938"/>
                <a:gd name="connsiteY4" fmla="*/ 1586071 h 1586071"/>
                <a:gd name="connsiteX5" fmla="*/ 541261 w 1427938"/>
                <a:gd name="connsiteY5" fmla="*/ 1404487 h 1586071"/>
                <a:gd name="connsiteX6" fmla="*/ 436060 w 1427938"/>
                <a:gd name="connsiteY6" fmla="*/ 1371831 h 1586071"/>
                <a:gd name="connsiteX7" fmla="*/ 0 w 1427938"/>
                <a:gd name="connsiteY7" fmla="*/ 713969 h 1586071"/>
                <a:gd name="connsiteX8" fmla="*/ 713969 w 1427938"/>
                <a:gd name="connsiteY8" fmla="*/ 0 h 1586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7938" h="1586071">
                  <a:moveTo>
                    <a:pt x="713969" y="0"/>
                  </a:moveTo>
                  <a:cubicBezTo>
                    <a:pt x="1108283" y="0"/>
                    <a:pt x="1427938" y="319655"/>
                    <a:pt x="1427938" y="713969"/>
                  </a:cubicBezTo>
                  <a:cubicBezTo>
                    <a:pt x="1427938" y="1009705"/>
                    <a:pt x="1248132" y="1263444"/>
                    <a:pt x="991878" y="1371831"/>
                  </a:cubicBezTo>
                  <a:lnTo>
                    <a:pt x="886675" y="1404488"/>
                  </a:lnTo>
                  <a:lnTo>
                    <a:pt x="713968" y="1586071"/>
                  </a:lnTo>
                  <a:lnTo>
                    <a:pt x="541261" y="1404487"/>
                  </a:lnTo>
                  <a:lnTo>
                    <a:pt x="436060" y="1371831"/>
                  </a:lnTo>
                  <a:cubicBezTo>
                    <a:pt x="179806" y="1263444"/>
                    <a:pt x="0" y="1009705"/>
                    <a:pt x="0" y="713969"/>
                  </a:cubicBezTo>
                  <a:cubicBezTo>
                    <a:pt x="0" y="319655"/>
                    <a:pt x="319655" y="0"/>
                    <a:pt x="713969" y="0"/>
                  </a:cubicBezTo>
                  <a:close/>
                </a:path>
              </a:pathLst>
            </a:cu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fontAlgn="base">
                <a:lnSpc>
                  <a:spcPct val="120000"/>
                </a:lnSpc>
              </a:pPr>
              <a:endParaRPr lang="zh-CN" altLang="en-US" sz="1350" strike="noStrike" noProof="1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1" name="文本框 40"/>
            <p:cNvSpPr txBox="1"/>
            <p:nvPr>
              <p:custDataLst>
                <p:tags r:id="rId14"/>
              </p:custDataLst>
            </p:nvPr>
          </p:nvSpPr>
          <p:spPr>
            <a:xfrm>
              <a:off x="2416" y="8568"/>
              <a:ext cx="4044" cy="529"/>
            </a:xfrm>
            <a:prstGeom prst="rect">
              <a:avLst/>
            </a:prstGeom>
            <a:noFill/>
          </p:spPr>
          <p:txBody>
            <a:bodyPr wrap="square" bIns="0" rtlCol="0" anchor="b" anchorCtr="0"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b="1" spc="300" noProof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激活自己</a:t>
              </a:r>
              <a:endParaRPr lang="zh-CN" altLang="en-US" b="1" spc="300" noProof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3" name="文本框 42"/>
            <p:cNvSpPr txBox="1"/>
            <p:nvPr>
              <p:custDataLst>
                <p:tags r:id="rId15"/>
              </p:custDataLst>
            </p:nvPr>
          </p:nvSpPr>
          <p:spPr>
            <a:xfrm>
              <a:off x="6177" y="7876"/>
              <a:ext cx="3277" cy="1221"/>
            </a:xfrm>
            <a:prstGeom prst="rect">
              <a:avLst/>
            </a:prstGeom>
            <a:noFill/>
          </p:spPr>
          <p:txBody>
            <a:bodyPr wrap="square" bIns="0" rtlCol="0" anchor="b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b="1" spc="300" noProof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打好基础</a:t>
              </a:r>
              <a:endParaRPr lang="zh-CN" altLang="en-US" b="1" spc="300" noProof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5" name="文本框 44"/>
            <p:cNvSpPr txBox="1"/>
            <p:nvPr>
              <p:custDataLst>
                <p:tags r:id="rId16"/>
              </p:custDataLst>
            </p:nvPr>
          </p:nvSpPr>
          <p:spPr>
            <a:xfrm>
              <a:off x="9682" y="8000"/>
              <a:ext cx="2688" cy="1133"/>
            </a:xfrm>
            <a:prstGeom prst="rect">
              <a:avLst/>
            </a:prstGeom>
            <a:noFill/>
          </p:spPr>
          <p:txBody>
            <a:bodyPr wrap="square" bIns="0" rtlCol="0" anchor="b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b="1" spc="300" noProof="1">
                  <a:solidFill>
                    <a:srgbClr val="3F3F40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单点发力</a:t>
              </a:r>
              <a:endParaRPr lang="zh-CN" altLang="en-US" b="1" spc="300" noProof="1">
                <a:solidFill>
                  <a:srgbClr val="3F3F4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4598" name="wifi-cloud_72981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13933" y="4388"/>
              <a:ext cx="420" cy="422"/>
            </a:xfrm>
            <a:custGeom>
              <a:avLst/>
              <a:gdLst/>
              <a:ahLst/>
              <a:cxnLst>
                <a:cxn ang="0">
                  <a:pos x="124999" y="79669"/>
                </a:cxn>
                <a:cxn ang="0">
                  <a:pos x="204459" y="145376"/>
                </a:cxn>
                <a:cxn ang="0">
                  <a:pos x="205921" y="145335"/>
                </a:cxn>
                <a:cxn ang="0">
                  <a:pos x="267304" y="206662"/>
                </a:cxn>
                <a:cxn ang="0">
                  <a:pos x="205921" y="267988"/>
                </a:cxn>
                <a:cxn ang="0">
                  <a:pos x="40664" y="267988"/>
                </a:cxn>
                <a:cxn ang="0">
                  <a:pos x="0" y="223940"/>
                </a:cxn>
                <a:cxn ang="0">
                  <a:pos x="44117" y="179892"/>
                </a:cxn>
                <a:cxn ang="0">
                  <a:pos x="46636" y="180136"/>
                </a:cxn>
                <a:cxn ang="0">
                  <a:pos x="44117" y="160423"/>
                </a:cxn>
                <a:cxn ang="0">
                  <a:pos x="124999" y="79669"/>
                </a:cxn>
                <a:cxn ang="0">
                  <a:pos x="175930" y="43161"/>
                </a:cxn>
                <a:cxn ang="0">
                  <a:pos x="223147" y="90298"/>
                </a:cxn>
                <a:cxn ang="0">
                  <a:pos x="209819" y="103644"/>
                </a:cxn>
                <a:cxn ang="0">
                  <a:pos x="196491" y="90298"/>
                </a:cxn>
                <a:cxn ang="0">
                  <a:pos x="175930" y="69813"/>
                </a:cxn>
                <a:cxn ang="0">
                  <a:pos x="162602" y="56507"/>
                </a:cxn>
                <a:cxn ang="0">
                  <a:pos x="175930" y="43161"/>
                </a:cxn>
                <a:cxn ang="0">
                  <a:pos x="177793" y="0"/>
                </a:cxn>
                <a:cxn ang="0">
                  <a:pos x="177834" y="0"/>
                </a:cxn>
                <a:cxn ang="0">
                  <a:pos x="266402" y="88413"/>
                </a:cxn>
                <a:cxn ang="0">
                  <a:pos x="253076" y="101716"/>
                </a:cxn>
                <a:cxn ang="0">
                  <a:pos x="253035" y="101716"/>
                </a:cxn>
                <a:cxn ang="0">
                  <a:pos x="239709" y="88413"/>
                </a:cxn>
                <a:cxn ang="0">
                  <a:pos x="177834" y="26645"/>
                </a:cxn>
                <a:cxn ang="0">
                  <a:pos x="177793" y="26645"/>
                </a:cxn>
                <a:cxn ang="0">
                  <a:pos x="164468" y="13302"/>
                </a:cxn>
                <a:cxn ang="0">
                  <a:pos x="177793" y="0"/>
                </a:cxn>
              </a:cxnLst>
              <a:rect l="0" t="0" r="0" b="0"/>
              <a:pathLst>
                <a:path w="606580" h="608133">
                  <a:moveTo>
                    <a:pt x="283655" y="180789"/>
                  </a:moveTo>
                  <a:cubicBezTo>
                    <a:pt x="373351" y="180789"/>
                    <a:pt x="447929" y="245034"/>
                    <a:pt x="463969" y="329895"/>
                  </a:cubicBezTo>
                  <a:cubicBezTo>
                    <a:pt x="465075" y="329895"/>
                    <a:pt x="466089" y="329803"/>
                    <a:pt x="467288" y="329803"/>
                  </a:cubicBezTo>
                  <a:cubicBezTo>
                    <a:pt x="544263" y="329803"/>
                    <a:pt x="606580" y="392022"/>
                    <a:pt x="606580" y="468968"/>
                  </a:cubicBezTo>
                  <a:cubicBezTo>
                    <a:pt x="606580" y="545730"/>
                    <a:pt x="544263" y="608133"/>
                    <a:pt x="467288" y="608133"/>
                  </a:cubicBezTo>
                  <a:lnTo>
                    <a:pt x="92278" y="608133"/>
                  </a:lnTo>
                  <a:cubicBezTo>
                    <a:pt x="40101" y="604636"/>
                    <a:pt x="0" y="561101"/>
                    <a:pt x="0" y="508177"/>
                  </a:cubicBezTo>
                  <a:cubicBezTo>
                    <a:pt x="0" y="452953"/>
                    <a:pt x="44802" y="408221"/>
                    <a:pt x="100113" y="408221"/>
                  </a:cubicBezTo>
                  <a:cubicBezTo>
                    <a:pt x="102049" y="408221"/>
                    <a:pt x="103893" y="408589"/>
                    <a:pt x="105829" y="408774"/>
                  </a:cubicBezTo>
                  <a:cubicBezTo>
                    <a:pt x="102234" y="394415"/>
                    <a:pt x="100113" y="379505"/>
                    <a:pt x="100113" y="364042"/>
                  </a:cubicBezTo>
                  <a:cubicBezTo>
                    <a:pt x="100113" y="262797"/>
                    <a:pt x="182251" y="180789"/>
                    <a:pt x="283655" y="180789"/>
                  </a:cubicBezTo>
                  <a:close/>
                  <a:moveTo>
                    <a:pt x="399230" y="97945"/>
                  </a:moveTo>
                  <a:cubicBezTo>
                    <a:pt x="458336" y="97945"/>
                    <a:pt x="506377" y="145997"/>
                    <a:pt x="506377" y="204910"/>
                  </a:cubicBezTo>
                  <a:cubicBezTo>
                    <a:pt x="506377" y="221664"/>
                    <a:pt x="492822" y="235195"/>
                    <a:pt x="476133" y="235195"/>
                  </a:cubicBezTo>
                  <a:cubicBezTo>
                    <a:pt x="459443" y="235195"/>
                    <a:pt x="445888" y="221664"/>
                    <a:pt x="445888" y="204910"/>
                  </a:cubicBezTo>
                  <a:cubicBezTo>
                    <a:pt x="445888" y="179227"/>
                    <a:pt x="424957" y="158424"/>
                    <a:pt x="399230" y="158424"/>
                  </a:cubicBezTo>
                  <a:cubicBezTo>
                    <a:pt x="382541" y="158424"/>
                    <a:pt x="368986" y="144892"/>
                    <a:pt x="368986" y="128230"/>
                  </a:cubicBezTo>
                  <a:cubicBezTo>
                    <a:pt x="368986" y="111477"/>
                    <a:pt x="382541" y="97945"/>
                    <a:pt x="399230" y="97945"/>
                  </a:cubicBezTo>
                  <a:close/>
                  <a:moveTo>
                    <a:pt x="403459" y="0"/>
                  </a:moveTo>
                  <a:lnTo>
                    <a:pt x="403552" y="0"/>
                  </a:lnTo>
                  <a:cubicBezTo>
                    <a:pt x="514276" y="0"/>
                    <a:pt x="604441" y="90009"/>
                    <a:pt x="604533" y="200633"/>
                  </a:cubicBezTo>
                  <a:cubicBezTo>
                    <a:pt x="604533" y="217291"/>
                    <a:pt x="590981" y="230820"/>
                    <a:pt x="574294" y="230820"/>
                  </a:cubicBezTo>
                  <a:lnTo>
                    <a:pt x="574201" y="230820"/>
                  </a:lnTo>
                  <a:cubicBezTo>
                    <a:pt x="557514" y="230820"/>
                    <a:pt x="543962" y="217291"/>
                    <a:pt x="543962" y="200633"/>
                  </a:cubicBezTo>
                  <a:cubicBezTo>
                    <a:pt x="543962" y="123325"/>
                    <a:pt x="480902" y="60466"/>
                    <a:pt x="403552" y="60466"/>
                  </a:cubicBezTo>
                  <a:lnTo>
                    <a:pt x="403459" y="60466"/>
                  </a:lnTo>
                  <a:cubicBezTo>
                    <a:pt x="386772" y="60466"/>
                    <a:pt x="373220" y="46937"/>
                    <a:pt x="373220" y="30187"/>
                  </a:cubicBezTo>
                  <a:cubicBezTo>
                    <a:pt x="373220" y="13529"/>
                    <a:pt x="386772" y="0"/>
                    <a:pt x="403459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599" name="statistical-chart_64023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10651" y="5090"/>
              <a:ext cx="420" cy="473"/>
            </a:xfrm>
            <a:custGeom>
              <a:avLst/>
              <a:gdLst/>
              <a:ahLst/>
              <a:cxnLst>
                <a:cxn ang="0">
                  <a:pos x="8043" y="150126"/>
                </a:cxn>
                <a:cxn ang="0">
                  <a:pos x="65739" y="150126"/>
                </a:cxn>
                <a:cxn ang="0">
                  <a:pos x="73783" y="158157"/>
                </a:cxn>
                <a:cxn ang="0">
                  <a:pos x="73783" y="291836"/>
                </a:cxn>
                <a:cxn ang="0">
                  <a:pos x="65739" y="299866"/>
                </a:cxn>
                <a:cxn ang="0">
                  <a:pos x="8043" y="299866"/>
                </a:cxn>
                <a:cxn ang="0">
                  <a:pos x="0" y="291836"/>
                </a:cxn>
                <a:cxn ang="0">
                  <a:pos x="0" y="158157"/>
                </a:cxn>
                <a:cxn ang="0">
                  <a:pos x="8043" y="150126"/>
                </a:cxn>
                <a:cxn ang="0">
                  <a:pos x="201564" y="92816"/>
                </a:cxn>
                <a:cxn ang="0">
                  <a:pos x="259260" y="92816"/>
                </a:cxn>
                <a:cxn ang="0">
                  <a:pos x="267304" y="100847"/>
                </a:cxn>
                <a:cxn ang="0">
                  <a:pos x="267304" y="291836"/>
                </a:cxn>
                <a:cxn ang="0">
                  <a:pos x="259260" y="299866"/>
                </a:cxn>
                <a:cxn ang="0">
                  <a:pos x="201564" y="299866"/>
                </a:cxn>
                <a:cxn ang="0">
                  <a:pos x="193520" y="291836"/>
                </a:cxn>
                <a:cxn ang="0">
                  <a:pos x="193520" y="100847"/>
                </a:cxn>
                <a:cxn ang="0">
                  <a:pos x="201564" y="92816"/>
                </a:cxn>
                <a:cxn ang="0">
                  <a:pos x="104821" y="0"/>
                </a:cxn>
                <a:cxn ang="0">
                  <a:pos x="162517" y="0"/>
                </a:cxn>
                <a:cxn ang="0">
                  <a:pos x="170561" y="8031"/>
                </a:cxn>
                <a:cxn ang="0">
                  <a:pos x="170561" y="291835"/>
                </a:cxn>
                <a:cxn ang="0">
                  <a:pos x="162517" y="299866"/>
                </a:cxn>
                <a:cxn ang="0">
                  <a:pos x="104821" y="299866"/>
                </a:cxn>
                <a:cxn ang="0">
                  <a:pos x="96777" y="291835"/>
                </a:cxn>
                <a:cxn ang="0">
                  <a:pos x="96777" y="8031"/>
                </a:cxn>
                <a:cxn ang="0">
                  <a:pos x="104821" y="0"/>
                </a:cxn>
              </a:cxnLst>
              <a:rect l="0" t="0" r="0" b="0"/>
              <a:pathLst>
                <a:path w="538132" h="603687">
                  <a:moveTo>
                    <a:pt x="16193" y="302232"/>
                  </a:moveTo>
                  <a:lnTo>
                    <a:pt x="132346" y="302232"/>
                  </a:lnTo>
                  <a:cubicBezTo>
                    <a:pt x="141235" y="302232"/>
                    <a:pt x="148540" y="309525"/>
                    <a:pt x="148540" y="318399"/>
                  </a:cubicBezTo>
                  <a:lnTo>
                    <a:pt x="148540" y="587520"/>
                  </a:lnTo>
                  <a:cubicBezTo>
                    <a:pt x="148540" y="596394"/>
                    <a:pt x="141235" y="603687"/>
                    <a:pt x="132346" y="603687"/>
                  </a:cubicBezTo>
                  <a:lnTo>
                    <a:pt x="16193" y="603687"/>
                  </a:lnTo>
                  <a:cubicBezTo>
                    <a:pt x="7305" y="603687"/>
                    <a:pt x="0" y="596394"/>
                    <a:pt x="0" y="587520"/>
                  </a:cubicBezTo>
                  <a:lnTo>
                    <a:pt x="0" y="318399"/>
                  </a:lnTo>
                  <a:cubicBezTo>
                    <a:pt x="0" y="309525"/>
                    <a:pt x="7305" y="302232"/>
                    <a:pt x="16193" y="302232"/>
                  </a:cubicBezTo>
                  <a:close/>
                  <a:moveTo>
                    <a:pt x="405786" y="186857"/>
                  </a:moveTo>
                  <a:lnTo>
                    <a:pt x="521939" y="186857"/>
                  </a:lnTo>
                  <a:cubicBezTo>
                    <a:pt x="530827" y="186857"/>
                    <a:pt x="538132" y="194029"/>
                    <a:pt x="538132" y="203025"/>
                  </a:cubicBezTo>
                  <a:lnTo>
                    <a:pt x="538132" y="587520"/>
                  </a:lnTo>
                  <a:cubicBezTo>
                    <a:pt x="538132" y="596393"/>
                    <a:pt x="530827" y="603687"/>
                    <a:pt x="521939" y="603687"/>
                  </a:cubicBezTo>
                  <a:lnTo>
                    <a:pt x="405786" y="603687"/>
                  </a:lnTo>
                  <a:cubicBezTo>
                    <a:pt x="396897" y="603687"/>
                    <a:pt x="389592" y="596393"/>
                    <a:pt x="389592" y="587520"/>
                  </a:cubicBezTo>
                  <a:lnTo>
                    <a:pt x="389592" y="203025"/>
                  </a:lnTo>
                  <a:cubicBezTo>
                    <a:pt x="389592" y="194029"/>
                    <a:pt x="396897" y="186857"/>
                    <a:pt x="405786" y="186857"/>
                  </a:cubicBezTo>
                  <a:close/>
                  <a:moveTo>
                    <a:pt x="211024" y="0"/>
                  </a:moveTo>
                  <a:lnTo>
                    <a:pt x="327177" y="0"/>
                  </a:lnTo>
                  <a:cubicBezTo>
                    <a:pt x="336066" y="0"/>
                    <a:pt x="343371" y="7294"/>
                    <a:pt x="343371" y="16168"/>
                  </a:cubicBezTo>
                  <a:lnTo>
                    <a:pt x="343371" y="587519"/>
                  </a:lnTo>
                  <a:cubicBezTo>
                    <a:pt x="343371" y="596393"/>
                    <a:pt x="336066" y="603687"/>
                    <a:pt x="327177" y="603687"/>
                  </a:cubicBezTo>
                  <a:lnTo>
                    <a:pt x="211024" y="603687"/>
                  </a:lnTo>
                  <a:cubicBezTo>
                    <a:pt x="202136" y="603687"/>
                    <a:pt x="194831" y="596393"/>
                    <a:pt x="194831" y="587519"/>
                  </a:cubicBezTo>
                  <a:lnTo>
                    <a:pt x="194831" y="16168"/>
                  </a:lnTo>
                  <a:cubicBezTo>
                    <a:pt x="194831" y="7294"/>
                    <a:pt x="202136" y="0"/>
                    <a:pt x="211024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600" name="placeholder_286118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7366" y="5628"/>
              <a:ext cx="422" cy="492"/>
            </a:xfrm>
            <a:custGeom>
              <a:avLst/>
              <a:gdLst/>
              <a:ahLst/>
              <a:cxnLst>
                <a:cxn ang="0">
                  <a:pos x="204606" y="200913"/>
                </a:cxn>
                <a:cxn ang="0">
                  <a:pos x="213438" y="187133"/>
                </a:cxn>
                <a:cxn ang="0">
                  <a:pos x="237358" y="103580"/>
                </a:cxn>
                <a:cxn ang="0">
                  <a:pos x="133629" y="0"/>
                </a:cxn>
                <a:cxn ang="0">
                  <a:pos x="29899" y="103580"/>
                </a:cxn>
                <a:cxn ang="0">
                  <a:pos x="62697" y="200867"/>
                </a:cxn>
                <a:cxn ang="0">
                  <a:pos x="0" y="252910"/>
                </a:cxn>
                <a:cxn ang="0">
                  <a:pos x="43193" y="298476"/>
                </a:cxn>
                <a:cxn ang="0">
                  <a:pos x="133629" y="313588"/>
                </a:cxn>
                <a:cxn ang="0">
                  <a:pos x="224064" y="298476"/>
                </a:cxn>
                <a:cxn ang="0">
                  <a:pos x="267304" y="252910"/>
                </a:cxn>
                <a:cxn ang="0">
                  <a:pos x="204606" y="200913"/>
                </a:cxn>
                <a:cxn ang="0">
                  <a:pos x="133629" y="71242"/>
                </a:cxn>
                <a:cxn ang="0">
                  <a:pos x="166058" y="103580"/>
                </a:cxn>
                <a:cxn ang="0">
                  <a:pos x="133629" y="135963"/>
                </a:cxn>
                <a:cxn ang="0">
                  <a:pos x="101245" y="103580"/>
                </a:cxn>
                <a:cxn ang="0">
                  <a:pos x="133629" y="71242"/>
                </a:cxn>
                <a:cxn ang="0">
                  <a:pos x="215048" y="275968"/>
                </a:cxn>
                <a:cxn ang="0">
                  <a:pos x="133629" y="289289"/>
                </a:cxn>
                <a:cxn ang="0">
                  <a:pos x="52255" y="275968"/>
                </a:cxn>
                <a:cxn ang="0">
                  <a:pos x="24287" y="252910"/>
                </a:cxn>
                <a:cxn ang="0">
                  <a:pos x="79073" y="221904"/>
                </a:cxn>
                <a:cxn ang="0">
                  <a:pos x="127005" y="264944"/>
                </a:cxn>
                <a:cxn ang="0">
                  <a:pos x="133629" y="266965"/>
                </a:cxn>
                <a:cxn ang="0">
                  <a:pos x="140298" y="264944"/>
                </a:cxn>
                <a:cxn ang="0">
                  <a:pos x="168634" y="242069"/>
                </a:cxn>
                <a:cxn ang="0">
                  <a:pos x="188230" y="221904"/>
                </a:cxn>
                <a:cxn ang="0">
                  <a:pos x="243016" y="252910"/>
                </a:cxn>
                <a:cxn ang="0">
                  <a:pos x="215048" y="275968"/>
                </a:cxn>
              </a:cxnLst>
              <a:rect l="0" t="0" r="0" b="0"/>
              <a:pathLst>
                <a:path w="5811" h="6827">
                  <a:moveTo>
                    <a:pt x="4448" y="4374"/>
                  </a:moveTo>
                  <a:cubicBezTo>
                    <a:pt x="4517" y="4275"/>
                    <a:pt x="4581" y="4175"/>
                    <a:pt x="4640" y="4074"/>
                  </a:cubicBezTo>
                  <a:cubicBezTo>
                    <a:pt x="4985" y="3483"/>
                    <a:pt x="5160" y="2871"/>
                    <a:pt x="5160" y="2255"/>
                  </a:cubicBezTo>
                  <a:cubicBezTo>
                    <a:pt x="5160" y="1012"/>
                    <a:pt x="4149" y="0"/>
                    <a:pt x="2905" y="0"/>
                  </a:cubicBezTo>
                  <a:cubicBezTo>
                    <a:pt x="1662" y="0"/>
                    <a:pt x="650" y="1012"/>
                    <a:pt x="650" y="2255"/>
                  </a:cubicBezTo>
                  <a:cubicBezTo>
                    <a:pt x="650" y="2973"/>
                    <a:pt x="895" y="3696"/>
                    <a:pt x="1363" y="4373"/>
                  </a:cubicBezTo>
                  <a:cubicBezTo>
                    <a:pt x="501" y="4604"/>
                    <a:pt x="0" y="5014"/>
                    <a:pt x="0" y="5506"/>
                  </a:cubicBezTo>
                  <a:cubicBezTo>
                    <a:pt x="0" y="5903"/>
                    <a:pt x="333" y="6256"/>
                    <a:pt x="939" y="6498"/>
                  </a:cubicBezTo>
                  <a:cubicBezTo>
                    <a:pt x="1469" y="6710"/>
                    <a:pt x="2167" y="6827"/>
                    <a:pt x="2905" y="6827"/>
                  </a:cubicBezTo>
                  <a:cubicBezTo>
                    <a:pt x="3644" y="6827"/>
                    <a:pt x="4342" y="6710"/>
                    <a:pt x="4871" y="6498"/>
                  </a:cubicBezTo>
                  <a:cubicBezTo>
                    <a:pt x="5477" y="6256"/>
                    <a:pt x="5811" y="5903"/>
                    <a:pt x="5811" y="5506"/>
                  </a:cubicBezTo>
                  <a:cubicBezTo>
                    <a:pt x="5811" y="5014"/>
                    <a:pt x="5310" y="4604"/>
                    <a:pt x="4448" y="4374"/>
                  </a:cubicBezTo>
                  <a:close/>
                  <a:moveTo>
                    <a:pt x="2905" y="1551"/>
                  </a:moveTo>
                  <a:cubicBezTo>
                    <a:pt x="3294" y="1551"/>
                    <a:pt x="3610" y="1866"/>
                    <a:pt x="3610" y="2255"/>
                  </a:cubicBezTo>
                  <a:cubicBezTo>
                    <a:pt x="3610" y="2644"/>
                    <a:pt x="3294" y="2960"/>
                    <a:pt x="2905" y="2960"/>
                  </a:cubicBezTo>
                  <a:cubicBezTo>
                    <a:pt x="2516" y="2960"/>
                    <a:pt x="2201" y="2644"/>
                    <a:pt x="2201" y="2255"/>
                  </a:cubicBezTo>
                  <a:cubicBezTo>
                    <a:pt x="2201" y="1866"/>
                    <a:pt x="2516" y="1551"/>
                    <a:pt x="2905" y="1551"/>
                  </a:cubicBezTo>
                  <a:close/>
                  <a:moveTo>
                    <a:pt x="4675" y="6008"/>
                  </a:moveTo>
                  <a:cubicBezTo>
                    <a:pt x="4207" y="6195"/>
                    <a:pt x="3578" y="6298"/>
                    <a:pt x="2905" y="6298"/>
                  </a:cubicBezTo>
                  <a:cubicBezTo>
                    <a:pt x="2233" y="6298"/>
                    <a:pt x="1604" y="6195"/>
                    <a:pt x="1136" y="6008"/>
                  </a:cubicBezTo>
                  <a:cubicBezTo>
                    <a:pt x="766" y="5860"/>
                    <a:pt x="528" y="5663"/>
                    <a:pt x="528" y="5506"/>
                  </a:cubicBezTo>
                  <a:cubicBezTo>
                    <a:pt x="528" y="5295"/>
                    <a:pt x="944" y="4996"/>
                    <a:pt x="1719" y="4831"/>
                  </a:cubicBezTo>
                  <a:cubicBezTo>
                    <a:pt x="2232" y="5420"/>
                    <a:pt x="2739" y="5754"/>
                    <a:pt x="2761" y="5768"/>
                  </a:cubicBezTo>
                  <a:cubicBezTo>
                    <a:pt x="2805" y="5797"/>
                    <a:pt x="2855" y="5812"/>
                    <a:pt x="2905" y="5812"/>
                  </a:cubicBezTo>
                  <a:cubicBezTo>
                    <a:pt x="2956" y="5812"/>
                    <a:pt x="3006" y="5797"/>
                    <a:pt x="3050" y="5768"/>
                  </a:cubicBezTo>
                  <a:cubicBezTo>
                    <a:pt x="3061" y="5761"/>
                    <a:pt x="3327" y="5586"/>
                    <a:pt x="3666" y="5270"/>
                  </a:cubicBezTo>
                  <a:cubicBezTo>
                    <a:pt x="3819" y="5128"/>
                    <a:pt x="3961" y="4982"/>
                    <a:pt x="4092" y="4831"/>
                  </a:cubicBezTo>
                  <a:cubicBezTo>
                    <a:pt x="4866" y="4997"/>
                    <a:pt x="5283" y="5295"/>
                    <a:pt x="5283" y="5506"/>
                  </a:cubicBezTo>
                  <a:cubicBezTo>
                    <a:pt x="5283" y="5663"/>
                    <a:pt x="5044" y="5860"/>
                    <a:pt x="4675" y="600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601" name="settings_320253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083" y="6275"/>
              <a:ext cx="420" cy="420"/>
            </a:xfrm>
            <a:custGeom>
              <a:avLst/>
              <a:gdLst/>
              <a:ahLst/>
              <a:cxnLst>
                <a:cxn ang="0">
                  <a:pos x="133652" y="122337"/>
                </a:cxn>
                <a:cxn ang="0">
                  <a:pos x="144781" y="133450"/>
                </a:cxn>
                <a:cxn ang="0">
                  <a:pos x="133652" y="144563"/>
                </a:cxn>
                <a:cxn ang="0">
                  <a:pos x="122523" y="133450"/>
                </a:cxn>
                <a:cxn ang="0">
                  <a:pos x="133652" y="122337"/>
                </a:cxn>
                <a:cxn ang="0">
                  <a:pos x="133632" y="111179"/>
                </a:cxn>
                <a:cxn ang="0">
                  <a:pos x="111357" y="133430"/>
                </a:cxn>
                <a:cxn ang="0">
                  <a:pos x="133632" y="155682"/>
                </a:cxn>
                <a:cxn ang="0">
                  <a:pos x="155907" y="133430"/>
                </a:cxn>
                <a:cxn ang="0">
                  <a:pos x="133632" y="111179"/>
                </a:cxn>
                <a:cxn ang="0">
                  <a:pos x="133632" y="88966"/>
                </a:cxn>
                <a:cxn ang="0">
                  <a:pos x="178181" y="133430"/>
                </a:cxn>
                <a:cxn ang="0">
                  <a:pos x="133632" y="177933"/>
                </a:cxn>
                <a:cxn ang="0">
                  <a:pos x="89121" y="133430"/>
                </a:cxn>
                <a:cxn ang="0">
                  <a:pos x="133632" y="88966"/>
                </a:cxn>
                <a:cxn ang="0">
                  <a:pos x="133632" y="66734"/>
                </a:cxn>
                <a:cxn ang="0">
                  <a:pos x="66835" y="133430"/>
                </a:cxn>
                <a:cxn ang="0">
                  <a:pos x="133632" y="200165"/>
                </a:cxn>
                <a:cxn ang="0">
                  <a:pos x="200468" y="133430"/>
                </a:cxn>
                <a:cxn ang="0">
                  <a:pos x="133632" y="66734"/>
                </a:cxn>
                <a:cxn ang="0">
                  <a:pos x="111353" y="0"/>
                </a:cxn>
                <a:cxn ang="0">
                  <a:pos x="155911" y="0"/>
                </a:cxn>
                <a:cxn ang="0">
                  <a:pos x="167070" y="11102"/>
                </a:cxn>
                <a:cxn ang="0">
                  <a:pos x="167070" y="27444"/>
                </a:cxn>
                <a:cxn ang="0">
                  <a:pos x="185041" y="34950"/>
                </a:cxn>
                <a:cxn ang="0">
                  <a:pos x="196631" y="23378"/>
                </a:cxn>
                <a:cxn ang="0">
                  <a:pos x="212410" y="23378"/>
                </a:cxn>
                <a:cxn ang="0">
                  <a:pos x="243890" y="54810"/>
                </a:cxn>
                <a:cxn ang="0">
                  <a:pos x="243890" y="70526"/>
                </a:cxn>
                <a:cxn ang="0">
                  <a:pos x="232300" y="82099"/>
                </a:cxn>
                <a:cxn ang="0">
                  <a:pos x="239818" y="100082"/>
                </a:cxn>
                <a:cxn ang="0">
                  <a:pos x="256145" y="100082"/>
                </a:cxn>
                <a:cxn ang="0">
                  <a:pos x="267304" y="111185"/>
                </a:cxn>
                <a:cxn ang="0">
                  <a:pos x="267304" y="155675"/>
                </a:cxn>
                <a:cxn ang="0">
                  <a:pos x="256145" y="166817"/>
                </a:cxn>
                <a:cxn ang="0">
                  <a:pos x="239818" y="166817"/>
                </a:cxn>
                <a:cxn ang="0">
                  <a:pos x="232300" y="184762"/>
                </a:cxn>
                <a:cxn ang="0">
                  <a:pos x="243890" y="196334"/>
                </a:cxn>
                <a:cxn ang="0">
                  <a:pos x="243890" y="212089"/>
                </a:cxn>
                <a:cxn ang="0">
                  <a:pos x="212410" y="243521"/>
                </a:cxn>
                <a:cxn ang="0">
                  <a:pos x="196631" y="243521"/>
                </a:cxn>
                <a:cxn ang="0">
                  <a:pos x="185041" y="231949"/>
                </a:cxn>
                <a:cxn ang="0">
                  <a:pos x="167070" y="239416"/>
                </a:cxn>
                <a:cxn ang="0">
                  <a:pos x="167070" y="255758"/>
                </a:cxn>
                <a:cxn ang="0">
                  <a:pos x="155911" y="266900"/>
                </a:cxn>
                <a:cxn ang="0">
                  <a:pos x="111353" y="266900"/>
                </a:cxn>
                <a:cxn ang="0">
                  <a:pos x="100234" y="255758"/>
                </a:cxn>
                <a:cxn ang="0">
                  <a:pos x="100234" y="239416"/>
                </a:cxn>
                <a:cxn ang="0">
                  <a:pos x="82223" y="231949"/>
                </a:cxn>
                <a:cxn ang="0">
                  <a:pos x="70633" y="243521"/>
                </a:cxn>
                <a:cxn ang="0">
                  <a:pos x="54894" y="243521"/>
                </a:cxn>
                <a:cxn ang="0">
                  <a:pos x="23414" y="212089"/>
                </a:cxn>
                <a:cxn ang="0">
                  <a:pos x="23414" y="196334"/>
                </a:cxn>
                <a:cxn ang="0">
                  <a:pos x="34964" y="184762"/>
                </a:cxn>
                <a:cxn ang="0">
                  <a:pos x="27486" y="166817"/>
                </a:cxn>
                <a:cxn ang="0">
                  <a:pos x="11119" y="166817"/>
                </a:cxn>
                <a:cxn ang="0">
                  <a:pos x="0" y="155675"/>
                </a:cxn>
                <a:cxn ang="0">
                  <a:pos x="0" y="111185"/>
                </a:cxn>
                <a:cxn ang="0">
                  <a:pos x="11119" y="100082"/>
                </a:cxn>
                <a:cxn ang="0">
                  <a:pos x="27486" y="100082"/>
                </a:cxn>
                <a:cxn ang="0">
                  <a:pos x="34964" y="82099"/>
                </a:cxn>
                <a:cxn ang="0">
                  <a:pos x="23414" y="70526"/>
                </a:cxn>
                <a:cxn ang="0">
                  <a:pos x="23414" y="54810"/>
                </a:cxn>
                <a:cxn ang="0">
                  <a:pos x="54894" y="23378"/>
                </a:cxn>
                <a:cxn ang="0">
                  <a:pos x="70633" y="23378"/>
                </a:cxn>
                <a:cxn ang="0">
                  <a:pos x="82223" y="34950"/>
                </a:cxn>
                <a:cxn ang="0">
                  <a:pos x="100234" y="27444"/>
                </a:cxn>
                <a:cxn ang="0">
                  <a:pos x="100234" y="11102"/>
                </a:cxn>
                <a:cxn ang="0">
                  <a:pos x="111353" y="0"/>
                </a:cxn>
              </a:cxnLst>
              <a:rect l="0" t="0" r="0" b="0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9" name="任意多边形 48"/>
            <p:cNvSpPr/>
            <p:nvPr>
              <p:custDataLst>
                <p:tags r:id="rId21"/>
              </p:custDataLst>
            </p:nvPr>
          </p:nvSpPr>
          <p:spPr bwMode="auto">
            <a:xfrm>
              <a:off x="4971" y="5335"/>
              <a:ext cx="1375" cy="1710"/>
            </a:xfrm>
            <a:custGeom>
              <a:avLst/>
              <a:gdLst>
                <a:gd name="T0" fmla="*/ 276 w 310"/>
                <a:gd name="T1" fmla="*/ 353 h 385"/>
                <a:gd name="T2" fmla="*/ 253 w 310"/>
                <a:gd name="T3" fmla="*/ 325 h 385"/>
                <a:gd name="T4" fmla="*/ 246 w 310"/>
                <a:gd name="T5" fmla="*/ 228 h 385"/>
                <a:gd name="T6" fmla="*/ 246 w 310"/>
                <a:gd name="T7" fmla="*/ 158 h 385"/>
                <a:gd name="T8" fmla="*/ 245 w 310"/>
                <a:gd name="T9" fmla="*/ 100 h 385"/>
                <a:gd name="T10" fmla="*/ 209 w 310"/>
                <a:gd name="T11" fmla="*/ 52 h 385"/>
                <a:gd name="T12" fmla="*/ 121 w 310"/>
                <a:gd name="T13" fmla="*/ 44 h 385"/>
                <a:gd name="T14" fmla="*/ 71 w 310"/>
                <a:gd name="T15" fmla="*/ 73 h 385"/>
                <a:gd name="T16" fmla="*/ 58 w 310"/>
                <a:gd name="T17" fmla="*/ 145 h 385"/>
                <a:gd name="T18" fmla="*/ 58 w 310"/>
                <a:gd name="T19" fmla="*/ 204 h 385"/>
                <a:gd name="T20" fmla="*/ 54 w 310"/>
                <a:gd name="T21" fmla="*/ 308 h 385"/>
                <a:gd name="T22" fmla="*/ 51 w 310"/>
                <a:gd name="T23" fmla="*/ 332 h 385"/>
                <a:gd name="T24" fmla="*/ 28 w 310"/>
                <a:gd name="T25" fmla="*/ 355 h 385"/>
                <a:gd name="T26" fmla="*/ 16 w 310"/>
                <a:gd name="T27" fmla="*/ 375 h 385"/>
                <a:gd name="T28" fmla="*/ 43 w 310"/>
                <a:gd name="T29" fmla="*/ 363 h 385"/>
                <a:gd name="T30" fmla="*/ 67 w 310"/>
                <a:gd name="T31" fmla="*/ 381 h 385"/>
                <a:gd name="T32" fmla="*/ 64 w 310"/>
                <a:gd name="T33" fmla="*/ 371 h 385"/>
                <a:gd name="T34" fmla="*/ 75 w 310"/>
                <a:gd name="T35" fmla="*/ 326 h 385"/>
                <a:gd name="T36" fmla="*/ 85 w 310"/>
                <a:gd name="T37" fmla="*/ 236 h 385"/>
                <a:gd name="T38" fmla="*/ 92 w 310"/>
                <a:gd name="T39" fmla="*/ 165 h 385"/>
                <a:gd name="T40" fmla="*/ 94 w 310"/>
                <a:gd name="T41" fmla="*/ 130 h 385"/>
                <a:gd name="T42" fmla="*/ 115 w 310"/>
                <a:gd name="T43" fmla="*/ 137 h 385"/>
                <a:gd name="T44" fmla="*/ 99 w 310"/>
                <a:gd name="T45" fmla="*/ 212 h 385"/>
                <a:gd name="T46" fmla="*/ 106 w 310"/>
                <a:gd name="T47" fmla="*/ 272 h 385"/>
                <a:gd name="T48" fmla="*/ 97 w 310"/>
                <a:gd name="T49" fmla="*/ 317 h 385"/>
                <a:gd name="T50" fmla="*/ 125 w 310"/>
                <a:gd name="T51" fmla="*/ 350 h 385"/>
                <a:gd name="T52" fmla="*/ 133 w 310"/>
                <a:gd name="T53" fmla="*/ 289 h 385"/>
                <a:gd name="T54" fmla="*/ 130 w 310"/>
                <a:gd name="T55" fmla="*/ 258 h 385"/>
                <a:gd name="T56" fmla="*/ 148 w 310"/>
                <a:gd name="T57" fmla="*/ 221 h 385"/>
                <a:gd name="T58" fmla="*/ 161 w 310"/>
                <a:gd name="T59" fmla="*/ 209 h 385"/>
                <a:gd name="T60" fmla="*/ 172 w 310"/>
                <a:gd name="T61" fmla="*/ 301 h 385"/>
                <a:gd name="T62" fmla="*/ 179 w 310"/>
                <a:gd name="T63" fmla="*/ 341 h 385"/>
                <a:gd name="T64" fmla="*/ 212 w 310"/>
                <a:gd name="T65" fmla="*/ 322 h 385"/>
                <a:gd name="T66" fmla="*/ 221 w 310"/>
                <a:gd name="T67" fmla="*/ 269 h 385"/>
                <a:gd name="T68" fmla="*/ 235 w 310"/>
                <a:gd name="T69" fmla="*/ 337 h 385"/>
                <a:gd name="T70" fmla="*/ 239 w 310"/>
                <a:gd name="T71" fmla="*/ 372 h 385"/>
                <a:gd name="T72" fmla="*/ 251 w 310"/>
                <a:gd name="T73" fmla="*/ 369 h 385"/>
                <a:gd name="T74" fmla="*/ 278 w 310"/>
                <a:gd name="T75" fmla="*/ 377 h 385"/>
                <a:gd name="T76" fmla="*/ 295 w 310"/>
                <a:gd name="T77" fmla="*/ 370 h 385"/>
                <a:gd name="T78" fmla="*/ 204 w 310"/>
                <a:gd name="T79" fmla="*/ 130 h 385"/>
                <a:gd name="T80" fmla="*/ 211 w 310"/>
                <a:gd name="T81" fmla="*/ 142 h 385"/>
                <a:gd name="T82" fmla="*/ 221 w 310"/>
                <a:gd name="T83" fmla="*/ 268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10" h="385">
                  <a:moveTo>
                    <a:pt x="295" y="370"/>
                  </a:moveTo>
                  <a:cubicBezTo>
                    <a:pt x="285" y="370"/>
                    <a:pt x="278" y="355"/>
                    <a:pt x="276" y="353"/>
                  </a:cubicBezTo>
                  <a:cubicBezTo>
                    <a:pt x="274" y="351"/>
                    <a:pt x="276" y="348"/>
                    <a:pt x="272" y="345"/>
                  </a:cubicBezTo>
                  <a:cubicBezTo>
                    <a:pt x="267" y="342"/>
                    <a:pt x="254" y="332"/>
                    <a:pt x="253" y="325"/>
                  </a:cubicBezTo>
                  <a:cubicBezTo>
                    <a:pt x="252" y="319"/>
                    <a:pt x="248" y="289"/>
                    <a:pt x="249" y="281"/>
                  </a:cubicBezTo>
                  <a:cubicBezTo>
                    <a:pt x="250" y="273"/>
                    <a:pt x="245" y="235"/>
                    <a:pt x="246" y="228"/>
                  </a:cubicBezTo>
                  <a:cubicBezTo>
                    <a:pt x="247" y="221"/>
                    <a:pt x="243" y="212"/>
                    <a:pt x="243" y="201"/>
                  </a:cubicBezTo>
                  <a:cubicBezTo>
                    <a:pt x="243" y="190"/>
                    <a:pt x="247" y="164"/>
                    <a:pt x="246" y="158"/>
                  </a:cubicBezTo>
                  <a:cubicBezTo>
                    <a:pt x="246" y="152"/>
                    <a:pt x="241" y="139"/>
                    <a:pt x="241" y="133"/>
                  </a:cubicBezTo>
                  <a:cubicBezTo>
                    <a:pt x="242" y="127"/>
                    <a:pt x="246" y="112"/>
                    <a:pt x="245" y="100"/>
                  </a:cubicBezTo>
                  <a:cubicBezTo>
                    <a:pt x="244" y="89"/>
                    <a:pt x="235" y="73"/>
                    <a:pt x="227" y="68"/>
                  </a:cubicBezTo>
                  <a:cubicBezTo>
                    <a:pt x="219" y="63"/>
                    <a:pt x="209" y="52"/>
                    <a:pt x="209" y="52"/>
                  </a:cubicBezTo>
                  <a:cubicBezTo>
                    <a:pt x="201" y="41"/>
                    <a:pt x="186" y="42"/>
                    <a:pt x="186" y="42"/>
                  </a:cubicBezTo>
                  <a:cubicBezTo>
                    <a:pt x="148" y="0"/>
                    <a:pt x="121" y="44"/>
                    <a:pt x="121" y="44"/>
                  </a:cubicBezTo>
                  <a:cubicBezTo>
                    <a:pt x="112" y="40"/>
                    <a:pt x="98" y="54"/>
                    <a:pt x="93" y="58"/>
                  </a:cubicBezTo>
                  <a:cubicBezTo>
                    <a:pt x="88" y="62"/>
                    <a:pt x="84" y="66"/>
                    <a:pt x="71" y="73"/>
                  </a:cubicBezTo>
                  <a:cubicBezTo>
                    <a:pt x="58" y="79"/>
                    <a:pt x="58" y="106"/>
                    <a:pt x="61" y="115"/>
                  </a:cubicBezTo>
                  <a:cubicBezTo>
                    <a:pt x="63" y="124"/>
                    <a:pt x="61" y="135"/>
                    <a:pt x="58" y="145"/>
                  </a:cubicBezTo>
                  <a:cubicBezTo>
                    <a:pt x="55" y="157"/>
                    <a:pt x="59" y="165"/>
                    <a:pt x="59" y="171"/>
                  </a:cubicBezTo>
                  <a:cubicBezTo>
                    <a:pt x="59" y="177"/>
                    <a:pt x="61" y="199"/>
                    <a:pt x="58" y="204"/>
                  </a:cubicBezTo>
                  <a:cubicBezTo>
                    <a:pt x="55" y="210"/>
                    <a:pt x="57" y="227"/>
                    <a:pt x="55" y="233"/>
                  </a:cubicBezTo>
                  <a:cubicBezTo>
                    <a:pt x="53" y="238"/>
                    <a:pt x="54" y="301"/>
                    <a:pt x="54" y="308"/>
                  </a:cubicBezTo>
                  <a:cubicBezTo>
                    <a:pt x="54" y="314"/>
                    <a:pt x="55" y="320"/>
                    <a:pt x="53" y="323"/>
                  </a:cubicBezTo>
                  <a:cubicBezTo>
                    <a:pt x="51" y="326"/>
                    <a:pt x="53" y="330"/>
                    <a:pt x="51" y="332"/>
                  </a:cubicBezTo>
                  <a:cubicBezTo>
                    <a:pt x="50" y="334"/>
                    <a:pt x="41" y="340"/>
                    <a:pt x="34" y="343"/>
                  </a:cubicBezTo>
                  <a:cubicBezTo>
                    <a:pt x="27" y="346"/>
                    <a:pt x="30" y="352"/>
                    <a:pt x="28" y="355"/>
                  </a:cubicBezTo>
                  <a:cubicBezTo>
                    <a:pt x="26" y="358"/>
                    <a:pt x="24" y="367"/>
                    <a:pt x="22" y="371"/>
                  </a:cubicBezTo>
                  <a:cubicBezTo>
                    <a:pt x="21" y="375"/>
                    <a:pt x="16" y="375"/>
                    <a:pt x="16" y="375"/>
                  </a:cubicBezTo>
                  <a:cubicBezTo>
                    <a:pt x="0" y="381"/>
                    <a:pt x="25" y="382"/>
                    <a:pt x="29" y="380"/>
                  </a:cubicBezTo>
                  <a:cubicBezTo>
                    <a:pt x="33" y="378"/>
                    <a:pt x="43" y="363"/>
                    <a:pt x="43" y="363"/>
                  </a:cubicBezTo>
                  <a:cubicBezTo>
                    <a:pt x="46" y="360"/>
                    <a:pt x="55" y="375"/>
                    <a:pt x="55" y="375"/>
                  </a:cubicBezTo>
                  <a:cubicBezTo>
                    <a:pt x="57" y="385"/>
                    <a:pt x="67" y="381"/>
                    <a:pt x="67" y="381"/>
                  </a:cubicBezTo>
                  <a:cubicBezTo>
                    <a:pt x="73" y="381"/>
                    <a:pt x="74" y="376"/>
                    <a:pt x="69" y="377"/>
                  </a:cubicBezTo>
                  <a:cubicBezTo>
                    <a:pt x="65" y="377"/>
                    <a:pt x="64" y="371"/>
                    <a:pt x="64" y="371"/>
                  </a:cubicBezTo>
                  <a:cubicBezTo>
                    <a:pt x="61" y="367"/>
                    <a:pt x="67" y="357"/>
                    <a:pt x="67" y="357"/>
                  </a:cubicBezTo>
                  <a:cubicBezTo>
                    <a:pt x="73" y="350"/>
                    <a:pt x="75" y="332"/>
                    <a:pt x="75" y="326"/>
                  </a:cubicBezTo>
                  <a:cubicBezTo>
                    <a:pt x="74" y="319"/>
                    <a:pt x="77" y="289"/>
                    <a:pt x="78" y="283"/>
                  </a:cubicBezTo>
                  <a:cubicBezTo>
                    <a:pt x="79" y="278"/>
                    <a:pt x="85" y="236"/>
                    <a:pt x="85" y="236"/>
                  </a:cubicBezTo>
                  <a:cubicBezTo>
                    <a:pt x="89" y="229"/>
                    <a:pt x="87" y="215"/>
                    <a:pt x="87" y="215"/>
                  </a:cubicBezTo>
                  <a:cubicBezTo>
                    <a:pt x="90" y="209"/>
                    <a:pt x="92" y="173"/>
                    <a:pt x="92" y="165"/>
                  </a:cubicBezTo>
                  <a:cubicBezTo>
                    <a:pt x="92" y="156"/>
                    <a:pt x="94" y="132"/>
                    <a:pt x="94" y="132"/>
                  </a:cubicBezTo>
                  <a:cubicBezTo>
                    <a:pt x="94" y="132"/>
                    <a:pt x="90" y="151"/>
                    <a:pt x="94" y="130"/>
                  </a:cubicBezTo>
                  <a:cubicBezTo>
                    <a:pt x="97" y="109"/>
                    <a:pt x="108" y="121"/>
                    <a:pt x="108" y="121"/>
                  </a:cubicBezTo>
                  <a:cubicBezTo>
                    <a:pt x="113" y="123"/>
                    <a:pt x="115" y="137"/>
                    <a:pt x="115" y="137"/>
                  </a:cubicBezTo>
                  <a:cubicBezTo>
                    <a:pt x="103" y="141"/>
                    <a:pt x="99" y="171"/>
                    <a:pt x="99" y="171"/>
                  </a:cubicBezTo>
                  <a:cubicBezTo>
                    <a:pt x="90" y="188"/>
                    <a:pt x="99" y="212"/>
                    <a:pt x="99" y="212"/>
                  </a:cubicBezTo>
                  <a:cubicBezTo>
                    <a:pt x="98" y="214"/>
                    <a:pt x="99" y="221"/>
                    <a:pt x="99" y="221"/>
                  </a:cubicBezTo>
                  <a:cubicBezTo>
                    <a:pt x="82" y="226"/>
                    <a:pt x="106" y="272"/>
                    <a:pt x="106" y="272"/>
                  </a:cubicBezTo>
                  <a:cubicBezTo>
                    <a:pt x="103" y="276"/>
                    <a:pt x="101" y="293"/>
                    <a:pt x="102" y="296"/>
                  </a:cubicBezTo>
                  <a:cubicBezTo>
                    <a:pt x="103" y="300"/>
                    <a:pt x="103" y="294"/>
                    <a:pt x="97" y="317"/>
                  </a:cubicBezTo>
                  <a:cubicBezTo>
                    <a:pt x="91" y="341"/>
                    <a:pt x="108" y="351"/>
                    <a:pt x="108" y="351"/>
                  </a:cubicBezTo>
                  <a:cubicBezTo>
                    <a:pt x="125" y="350"/>
                    <a:pt x="125" y="350"/>
                    <a:pt x="125" y="350"/>
                  </a:cubicBezTo>
                  <a:cubicBezTo>
                    <a:pt x="133" y="345"/>
                    <a:pt x="137" y="325"/>
                    <a:pt x="131" y="316"/>
                  </a:cubicBezTo>
                  <a:cubicBezTo>
                    <a:pt x="126" y="306"/>
                    <a:pt x="133" y="289"/>
                    <a:pt x="133" y="289"/>
                  </a:cubicBezTo>
                  <a:cubicBezTo>
                    <a:pt x="136" y="280"/>
                    <a:pt x="135" y="270"/>
                    <a:pt x="131" y="267"/>
                  </a:cubicBezTo>
                  <a:cubicBezTo>
                    <a:pt x="128" y="264"/>
                    <a:pt x="130" y="258"/>
                    <a:pt x="130" y="258"/>
                  </a:cubicBezTo>
                  <a:cubicBezTo>
                    <a:pt x="153" y="250"/>
                    <a:pt x="143" y="232"/>
                    <a:pt x="143" y="232"/>
                  </a:cubicBezTo>
                  <a:cubicBezTo>
                    <a:pt x="145" y="230"/>
                    <a:pt x="148" y="221"/>
                    <a:pt x="148" y="221"/>
                  </a:cubicBezTo>
                  <a:cubicBezTo>
                    <a:pt x="152" y="219"/>
                    <a:pt x="157" y="209"/>
                    <a:pt x="157" y="209"/>
                  </a:cubicBezTo>
                  <a:cubicBezTo>
                    <a:pt x="159" y="210"/>
                    <a:pt x="161" y="209"/>
                    <a:pt x="161" y="209"/>
                  </a:cubicBezTo>
                  <a:cubicBezTo>
                    <a:pt x="153" y="228"/>
                    <a:pt x="168" y="267"/>
                    <a:pt x="169" y="270"/>
                  </a:cubicBezTo>
                  <a:cubicBezTo>
                    <a:pt x="170" y="272"/>
                    <a:pt x="173" y="294"/>
                    <a:pt x="172" y="301"/>
                  </a:cubicBezTo>
                  <a:cubicBezTo>
                    <a:pt x="172" y="309"/>
                    <a:pt x="174" y="328"/>
                    <a:pt x="174" y="328"/>
                  </a:cubicBezTo>
                  <a:cubicBezTo>
                    <a:pt x="176" y="330"/>
                    <a:pt x="179" y="341"/>
                    <a:pt x="179" y="341"/>
                  </a:cubicBezTo>
                  <a:cubicBezTo>
                    <a:pt x="186" y="356"/>
                    <a:pt x="202" y="350"/>
                    <a:pt x="202" y="350"/>
                  </a:cubicBezTo>
                  <a:cubicBezTo>
                    <a:pt x="208" y="347"/>
                    <a:pt x="211" y="332"/>
                    <a:pt x="212" y="322"/>
                  </a:cubicBezTo>
                  <a:cubicBezTo>
                    <a:pt x="214" y="313"/>
                    <a:pt x="221" y="269"/>
                    <a:pt x="221" y="268"/>
                  </a:cubicBezTo>
                  <a:cubicBezTo>
                    <a:pt x="221" y="268"/>
                    <a:pt x="221" y="268"/>
                    <a:pt x="221" y="269"/>
                  </a:cubicBezTo>
                  <a:cubicBezTo>
                    <a:pt x="225" y="278"/>
                    <a:pt x="233" y="319"/>
                    <a:pt x="232" y="324"/>
                  </a:cubicBezTo>
                  <a:cubicBezTo>
                    <a:pt x="231" y="331"/>
                    <a:pt x="234" y="338"/>
                    <a:pt x="235" y="337"/>
                  </a:cubicBezTo>
                  <a:cubicBezTo>
                    <a:pt x="235" y="336"/>
                    <a:pt x="241" y="362"/>
                    <a:pt x="242" y="366"/>
                  </a:cubicBezTo>
                  <a:cubicBezTo>
                    <a:pt x="243" y="370"/>
                    <a:pt x="239" y="372"/>
                    <a:pt x="239" y="372"/>
                  </a:cubicBezTo>
                  <a:cubicBezTo>
                    <a:pt x="226" y="379"/>
                    <a:pt x="245" y="378"/>
                    <a:pt x="248" y="377"/>
                  </a:cubicBezTo>
                  <a:cubicBezTo>
                    <a:pt x="252" y="376"/>
                    <a:pt x="250" y="374"/>
                    <a:pt x="251" y="369"/>
                  </a:cubicBezTo>
                  <a:cubicBezTo>
                    <a:pt x="251" y="364"/>
                    <a:pt x="258" y="361"/>
                    <a:pt x="258" y="361"/>
                  </a:cubicBezTo>
                  <a:cubicBezTo>
                    <a:pt x="265" y="359"/>
                    <a:pt x="278" y="377"/>
                    <a:pt x="278" y="377"/>
                  </a:cubicBezTo>
                  <a:cubicBezTo>
                    <a:pt x="283" y="381"/>
                    <a:pt x="299" y="376"/>
                    <a:pt x="299" y="376"/>
                  </a:cubicBezTo>
                  <a:cubicBezTo>
                    <a:pt x="310" y="373"/>
                    <a:pt x="295" y="370"/>
                    <a:pt x="295" y="370"/>
                  </a:cubicBezTo>
                  <a:close/>
                  <a:moveTo>
                    <a:pt x="211" y="142"/>
                  </a:moveTo>
                  <a:cubicBezTo>
                    <a:pt x="210" y="140"/>
                    <a:pt x="205" y="132"/>
                    <a:pt x="204" y="130"/>
                  </a:cubicBezTo>
                  <a:cubicBezTo>
                    <a:pt x="203" y="128"/>
                    <a:pt x="207" y="126"/>
                    <a:pt x="207" y="126"/>
                  </a:cubicBezTo>
                  <a:cubicBezTo>
                    <a:pt x="214" y="127"/>
                    <a:pt x="211" y="142"/>
                    <a:pt x="211" y="142"/>
                  </a:cubicBezTo>
                  <a:close/>
                  <a:moveTo>
                    <a:pt x="221" y="267"/>
                  </a:moveTo>
                  <a:cubicBezTo>
                    <a:pt x="221" y="267"/>
                    <a:pt x="221" y="267"/>
                    <a:pt x="221" y="268"/>
                  </a:cubicBezTo>
                  <a:cubicBezTo>
                    <a:pt x="221" y="267"/>
                    <a:pt x="218" y="263"/>
                    <a:pt x="221" y="267"/>
                  </a:cubicBezTo>
                  <a:close/>
                </a:path>
              </a:pathLst>
            </a:custGeom>
            <a:solidFill>
              <a:srgbClr val="4276AA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lstStyle/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任意多边形 49"/>
            <p:cNvSpPr/>
            <p:nvPr>
              <p:custDataLst>
                <p:tags r:id="rId22"/>
              </p:custDataLst>
            </p:nvPr>
          </p:nvSpPr>
          <p:spPr bwMode="auto">
            <a:xfrm>
              <a:off x="8401" y="4720"/>
              <a:ext cx="1440" cy="1400"/>
            </a:xfrm>
            <a:custGeom>
              <a:avLst/>
              <a:gdLst>
                <a:gd name="T0" fmla="*/ 14 w 325"/>
                <a:gd name="T1" fmla="*/ 312 h 315"/>
                <a:gd name="T2" fmla="*/ 59 w 325"/>
                <a:gd name="T3" fmla="*/ 310 h 315"/>
                <a:gd name="T4" fmla="*/ 80 w 325"/>
                <a:gd name="T5" fmla="*/ 312 h 315"/>
                <a:gd name="T6" fmla="*/ 78 w 325"/>
                <a:gd name="T7" fmla="*/ 301 h 315"/>
                <a:gd name="T8" fmla="*/ 65 w 325"/>
                <a:gd name="T9" fmla="*/ 273 h 315"/>
                <a:gd name="T10" fmla="*/ 84 w 325"/>
                <a:gd name="T11" fmla="*/ 265 h 315"/>
                <a:gd name="T12" fmla="*/ 112 w 325"/>
                <a:gd name="T13" fmla="*/ 258 h 315"/>
                <a:gd name="T14" fmla="*/ 123 w 325"/>
                <a:gd name="T15" fmla="*/ 236 h 315"/>
                <a:gd name="T16" fmla="*/ 125 w 325"/>
                <a:gd name="T17" fmla="*/ 161 h 315"/>
                <a:gd name="T18" fmla="*/ 165 w 325"/>
                <a:gd name="T19" fmla="*/ 186 h 315"/>
                <a:gd name="T20" fmla="*/ 147 w 325"/>
                <a:gd name="T21" fmla="*/ 230 h 315"/>
                <a:gd name="T22" fmla="*/ 134 w 325"/>
                <a:gd name="T23" fmla="*/ 255 h 315"/>
                <a:gd name="T24" fmla="*/ 124 w 325"/>
                <a:gd name="T25" fmla="*/ 273 h 315"/>
                <a:gd name="T26" fmla="*/ 132 w 325"/>
                <a:gd name="T27" fmla="*/ 293 h 315"/>
                <a:gd name="T28" fmla="*/ 148 w 325"/>
                <a:gd name="T29" fmla="*/ 307 h 315"/>
                <a:gd name="T30" fmla="*/ 163 w 325"/>
                <a:gd name="T31" fmla="*/ 292 h 315"/>
                <a:gd name="T32" fmla="*/ 154 w 325"/>
                <a:gd name="T33" fmla="*/ 269 h 315"/>
                <a:gd name="T34" fmla="*/ 182 w 325"/>
                <a:gd name="T35" fmla="*/ 235 h 315"/>
                <a:gd name="T36" fmla="*/ 211 w 325"/>
                <a:gd name="T37" fmla="*/ 172 h 315"/>
                <a:gd name="T38" fmla="*/ 209 w 325"/>
                <a:gd name="T39" fmla="*/ 136 h 315"/>
                <a:gd name="T40" fmla="*/ 227 w 325"/>
                <a:gd name="T41" fmla="*/ 140 h 315"/>
                <a:gd name="T42" fmla="*/ 241 w 325"/>
                <a:gd name="T43" fmla="*/ 208 h 315"/>
                <a:gd name="T44" fmla="*/ 266 w 325"/>
                <a:gd name="T45" fmla="*/ 269 h 315"/>
                <a:gd name="T46" fmla="*/ 270 w 325"/>
                <a:gd name="T47" fmla="*/ 301 h 315"/>
                <a:gd name="T48" fmla="*/ 264 w 325"/>
                <a:gd name="T49" fmla="*/ 312 h 315"/>
                <a:gd name="T50" fmla="*/ 284 w 325"/>
                <a:gd name="T51" fmla="*/ 310 h 315"/>
                <a:gd name="T52" fmla="*/ 317 w 325"/>
                <a:gd name="T53" fmla="*/ 312 h 315"/>
                <a:gd name="T54" fmla="*/ 307 w 325"/>
                <a:gd name="T55" fmla="*/ 307 h 315"/>
                <a:gd name="T56" fmla="*/ 292 w 325"/>
                <a:gd name="T57" fmla="*/ 301 h 315"/>
                <a:gd name="T58" fmla="*/ 284 w 325"/>
                <a:gd name="T59" fmla="*/ 270 h 315"/>
                <a:gd name="T60" fmla="*/ 275 w 325"/>
                <a:gd name="T61" fmla="*/ 221 h 315"/>
                <a:gd name="T62" fmla="*/ 259 w 325"/>
                <a:gd name="T63" fmla="*/ 169 h 315"/>
                <a:gd name="T64" fmla="*/ 250 w 325"/>
                <a:gd name="T65" fmla="*/ 115 h 315"/>
                <a:gd name="T66" fmla="*/ 235 w 325"/>
                <a:gd name="T67" fmla="*/ 89 h 315"/>
                <a:gd name="T68" fmla="*/ 246 w 325"/>
                <a:gd name="T69" fmla="*/ 64 h 315"/>
                <a:gd name="T70" fmla="*/ 199 w 325"/>
                <a:gd name="T71" fmla="*/ 15 h 315"/>
                <a:gd name="T72" fmla="*/ 180 w 325"/>
                <a:gd name="T73" fmla="*/ 64 h 315"/>
                <a:gd name="T74" fmla="*/ 119 w 325"/>
                <a:gd name="T75" fmla="*/ 77 h 315"/>
                <a:gd name="T76" fmla="*/ 74 w 325"/>
                <a:gd name="T77" fmla="*/ 145 h 315"/>
                <a:gd name="T78" fmla="*/ 79 w 325"/>
                <a:gd name="T79" fmla="*/ 193 h 315"/>
                <a:gd name="T80" fmla="*/ 51 w 325"/>
                <a:gd name="T81" fmla="*/ 243 h 315"/>
                <a:gd name="T82" fmla="*/ 38 w 325"/>
                <a:gd name="T83" fmla="*/ 242 h 315"/>
                <a:gd name="T84" fmla="*/ 29 w 325"/>
                <a:gd name="T85" fmla="*/ 269 h 315"/>
                <a:gd name="T86" fmla="*/ 33 w 325"/>
                <a:gd name="T87" fmla="*/ 297 h 315"/>
                <a:gd name="T88" fmla="*/ 13 w 325"/>
                <a:gd name="T89" fmla="*/ 305 h 315"/>
                <a:gd name="T90" fmla="*/ 80 w 325"/>
                <a:gd name="T91" fmla="*/ 242 h 315"/>
                <a:gd name="T92" fmla="*/ 84 w 325"/>
                <a:gd name="T93" fmla="*/ 235 h 315"/>
                <a:gd name="T94" fmla="*/ 84 w 325"/>
                <a:gd name="T95" fmla="*/ 241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5" h="315">
                  <a:moveTo>
                    <a:pt x="2" y="310"/>
                  </a:moveTo>
                  <a:cubicBezTo>
                    <a:pt x="3" y="312"/>
                    <a:pt x="10" y="312"/>
                    <a:pt x="14" y="312"/>
                  </a:cubicBezTo>
                  <a:cubicBezTo>
                    <a:pt x="14" y="312"/>
                    <a:pt x="30" y="312"/>
                    <a:pt x="35" y="312"/>
                  </a:cubicBezTo>
                  <a:cubicBezTo>
                    <a:pt x="35" y="312"/>
                    <a:pt x="56" y="315"/>
                    <a:pt x="59" y="310"/>
                  </a:cubicBezTo>
                  <a:cubicBezTo>
                    <a:pt x="59" y="310"/>
                    <a:pt x="65" y="305"/>
                    <a:pt x="71" y="307"/>
                  </a:cubicBezTo>
                  <a:cubicBezTo>
                    <a:pt x="71" y="307"/>
                    <a:pt x="78" y="311"/>
                    <a:pt x="80" y="312"/>
                  </a:cubicBezTo>
                  <a:cubicBezTo>
                    <a:pt x="80" y="312"/>
                    <a:pt x="102" y="313"/>
                    <a:pt x="87" y="307"/>
                  </a:cubicBezTo>
                  <a:cubicBezTo>
                    <a:pt x="87" y="307"/>
                    <a:pt x="81" y="303"/>
                    <a:pt x="78" y="301"/>
                  </a:cubicBezTo>
                  <a:cubicBezTo>
                    <a:pt x="74" y="300"/>
                    <a:pt x="72" y="290"/>
                    <a:pt x="69" y="287"/>
                  </a:cubicBezTo>
                  <a:cubicBezTo>
                    <a:pt x="66" y="283"/>
                    <a:pt x="63" y="277"/>
                    <a:pt x="65" y="273"/>
                  </a:cubicBezTo>
                  <a:cubicBezTo>
                    <a:pt x="67" y="269"/>
                    <a:pt x="70" y="264"/>
                    <a:pt x="70" y="264"/>
                  </a:cubicBezTo>
                  <a:cubicBezTo>
                    <a:pt x="70" y="264"/>
                    <a:pt x="80" y="265"/>
                    <a:pt x="84" y="265"/>
                  </a:cubicBezTo>
                  <a:cubicBezTo>
                    <a:pt x="84" y="265"/>
                    <a:pt x="88" y="264"/>
                    <a:pt x="91" y="265"/>
                  </a:cubicBezTo>
                  <a:cubicBezTo>
                    <a:pt x="91" y="265"/>
                    <a:pt x="107" y="267"/>
                    <a:pt x="112" y="258"/>
                  </a:cubicBezTo>
                  <a:cubicBezTo>
                    <a:pt x="112" y="258"/>
                    <a:pt x="116" y="254"/>
                    <a:pt x="117" y="253"/>
                  </a:cubicBezTo>
                  <a:cubicBezTo>
                    <a:pt x="118" y="252"/>
                    <a:pt x="123" y="243"/>
                    <a:pt x="123" y="236"/>
                  </a:cubicBezTo>
                  <a:cubicBezTo>
                    <a:pt x="123" y="228"/>
                    <a:pt x="122" y="199"/>
                    <a:pt x="122" y="195"/>
                  </a:cubicBezTo>
                  <a:cubicBezTo>
                    <a:pt x="122" y="190"/>
                    <a:pt x="127" y="164"/>
                    <a:pt x="125" y="161"/>
                  </a:cubicBezTo>
                  <a:cubicBezTo>
                    <a:pt x="125" y="161"/>
                    <a:pt x="128" y="152"/>
                    <a:pt x="131" y="155"/>
                  </a:cubicBezTo>
                  <a:cubicBezTo>
                    <a:pt x="131" y="155"/>
                    <a:pt x="156" y="182"/>
                    <a:pt x="165" y="186"/>
                  </a:cubicBezTo>
                  <a:cubicBezTo>
                    <a:pt x="165" y="186"/>
                    <a:pt x="170" y="194"/>
                    <a:pt x="171" y="195"/>
                  </a:cubicBezTo>
                  <a:cubicBezTo>
                    <a:pt x="171" y="195"/>
                    <a:pt x="150" y="215"/>
                    <a:pt x="147" y="230"/>
                  </a:cubicBezTo>
                  <a:cubicBezTo>
                    <a:pt x="147" y="230"/>
                    <a:pt x="141" y="245"/>
                    <a:pt x="137" y="250"/>
                  </a:cubicBezTo>
                  <a:cubicBezTo>
                    <a:pt x="134" y="254"/>
                    <a:pt x="134" y="255"/>
                    <a:pt x="134" y="255"/>
                  </a:cubicBezTo>
                  <a:cubicBezTo>
                    <a:pt x="134" y="255"/>
                    <a:pt x="130" y="254"/>
                    <a:pt x="129" y="259"/>
                  </a:cubicBezTo>
                  <a:cubicBezTo>
                    <a:pt x="128" y="264"/>
                    <a:pt x="126" y="270"/>
                    <a:pt x="124" y="273"/>
                  </a:cubicBezTo>
                  <a:cubicBezTo>
                    <a:pt x="121" y="276"/>
                    <a:pt x="117" y="276"/>
                    <a:pt x="121" y="283"/>
                  </a:cubicBezTo>
                  <a:cubicBezTo>
                    <a:pt x="121" y="283"/>
                    <a:pt x="130" y="292"/>
                    <a:pt x="132" y="293"/>
                  </a:cubicBezTo>
                  <a:cubicBezTo>
                    <a:pt x="135" y="295"/>
                    <a:pt x="134" y="297"/>
                    <a:pt x="133" y="300"/>
                  </a:cubicBezTo>
                  <a:cubicBezTo>
                    <a:pt x="133" y="300"/>
                    <a:pt x="131" y="307"/>
                    <a:pt x="148" y="307"/>
                  </a:cubicBezTo>
                  <a:cubicBezTo>
                    <a:pt x="148" y="307"/>
                    <a:pt x="166" y="308"/>
                    <a:pt x="167" y="304"/>
                  </a:cubicBezTo>
                  <a:cubicBezTo>
                    <a:pt x="167" y="304"/>
                    <a:pt x="169" y="297"/>
                    <a:pt x="163" y="292"/>
                  </a:cubicBezTo>
                  <a:cubicBezTo>
                    <a:pt x="163" y="292"/>
                    <a:pt x="157" y="284"/>
                    <a:pt x="155" y="277"/>
                  </a:cubicBezTo>
                  <a:cubicBezTo>
                    <a:pt x="154" y="271"/>
                    <a:pt x="154" y="269"/>
                    <a:pt x="154" y="269"/>
                  </a:cubicBezTo>
                  <a:cubicBezTo>
                    <a:pt x="154" y="269"/>
                    <a:pt x="156" y="262"/>
                    <a:pt x="152" y="261"/>
                  </a:cubicBezTo>
                  <a:cubicBezTo>
                    <a:pt x="152" y="261"/>
                    <a:pt x="177" y="238"/>
                    <a:pt x="182" y="235"/>
                  </a:cubicBezTo>
                  <a:cubicBezTo>
                    <a:pt x="187" y="232"/>
                    <a:pt x="205" y="213"/>
                    <a:pt x="204" y="209"/>
                  </a:cubicBezTo>
                  <a:cubicBezTo>
                    <a:pt x="204" y="209"/>
                    <a:pt x="219" y="185"/>
                    <a:pt x="211" y="172"/>
                  </a:cubicBezTo>
                  <a:cubicBezTo>
                    <a:pt x="203" y="159"/>
                    <a:pt x="205" y="147"/>
                    <a:pt x="199" y="144"/>
                  </a:cubicBezTo>
                  <a:cubicBezTo>
                    <a:pt x="199" y="144"/>
                    <a:pt x="208" y="138"/>
                    <a:pt x="209" y="136"/>
                  </a:cubicBezTo>
                  <a:cubicBezTo>
                    <a:pt x="209" y="136"/>
                    <a:pt x="219" y="137"/>
                    <a:pt x="221" y="135"/>
                  </a:cubicBezTo>
                  <a:cubicBezTo>
                    <a:pt x="221" y="135"/>
                    <a:pt x="227" y="136"/>
                    <a:pt x="227" y="140"/>
                  </a:cubicBezTo>
                  <a:cubicBezTo>
                    <a:pt x="227" y="144"/>
                    <a:pt x="233" y="176"/>
                    <a:pt x="235" y="183"/>
                  </a:cubicBezTo>
                  <a:cubicBezTo>
                    <a:pt x="238" y="190"/>
                    <a:pt x="240" y="202"/>
                    <a:pt x="241" y="208"/>
                  </a:cubicBezTo>
                  <a:cubicBezTo>
                    <a:pt x="241" y="214"/>
                    <a:pt x="249" y="231"/>
                    <a:pt x="254" y="239"/>
                  </a:cubicBezTo>
                  <a:cubicBezTo>
                    <a:pt x="258" y="248"/>
                    <a:pt x="265" y="264"/>
                    <a:pt x="266" y="269"/>
                  </a:cubicBezTo>
                  <a:cubicBezTo>
                    <a:pt x="268" y="274"/>
                    <a:pt x="272" y="281"/>
                    <a:pt x="272" y="286"/>
                  </a:cubicBezTo>
                  <a:cubicBezTo>
                    <a:pt x="271" y="291"/>
                    <a:pt x="270" y="299"/>
                    <a:pt x="270" y="301"/>
                  </a:cubicBezTo>
                  <a:cubicBezTo>
                    <a:pt x="270" y="303"/>
                    <a:pt x="270" y="306"/>
                    <a:pt x="266" y="307"/>
                  </a:cubicBezTo>
                  <a:cubicBezTo>
                    <a:pt x="263" y="309"/>
                    <a:pt x="261" y="310"/>
                    <a:pt x="264" y="312"/>
                  </a:cubicBezTo>
                  <a:cubicBezTo>
                    <a:pt x="264" y="312"/>
                    <a:pt x="270" y="313"/>
                    <a:pt x="273" y="311"/>
                  </a:cubicBezTo>
                  <a:cubicBezTo>
                    <a:pt x="273" y="311"/>
                    <a:pt x="277" y="307"/>
                    <a:pt x="284" y="310"/>
                  </a:cubicBezTo>
                  <a:cubicBezTo>
                    <a:pt x="284" y="310"/>
                    <a:pt x="291" y="312"/>
                    <a:pt x="295" y="312"/>
                  </a:cubicBezTo>
                  <a:cubicBezTo>
                    <a:pt x="295" y="312"/>
                    <a:pt x="316" y="313"/>
                    <a:pt x="317" y="312"/>
                  </a:cubicBezTo>
                  <a:cubicBezTo>
                    <a:pt x="317" y="312"/>
                    <a:pt x="325" y="311"/>
                    <a:pt x="317" y="307"/>
                  </a:cubicBezTo>
                  <a:cubicBezTo>
                    <a:pt x="317" y="307"/>
                    <a:pt x="311" y="307"/>
                    <a:pt x="307" y="307"/>
                  </a:cubicBezTo>
                  <a:cubicBezTo>
                    <a:pt x="304" y="307"/>
                    <a:pt x="302" y="304"/>
                    <a:pt x="299" y="305"/>
                  </a:cubicBezTo>
                  <a:cubicBezTo>
                    <a:pt x="295" y="305"/>
                    <a:pt x="296" y="304"/>
                    <a:pt x="292" y="301"/>
                  </a:cubicBezTo>
                  <a:cubicBezTo>
                    <a:pt x="289" y="297"/>
                    <a:pt x="285" y="279"/>
                    <a:pt x="285" y="277"/>
                  </a:cubicBezTo>
                  <a:cubicBezTo>
                    <a:pt x="285" y="276"/>
                    <a:pt x="285" y="272"/>
                    <a:pt x="284" y="270"/>
                  </a:cubicBezTo>
                  <a:cubicBezTo>
                    <a:pt x="283" y="268"/>
                    <a:pt x="280" y="246"/>
                    <a:pt x="279" y="241"/>
                  </a:cubicBezTo>
                  <a:cubicBezTo>
                    <a:pt x="278" y="235"/>
                    <a:pt x="277" y="225"/>
                    <a:pt x="275" y="221"/>
                  </a:cubicBezTo>
                  <a:cubicBezTo>
                    <a:pt x="274" y="217"/>
                    <a:pt x="276" y="205"/>
                    <a:pt x="269" y="196"/>
                  </a:cubicBezTo>
                  <a:cubicBezTo>
                    <a:pt x="261" y="186"/>
                    <a:pt x="259" y="178"/>
                    <a:pt x="259" y="169"/>
                  </a:cubicBezTo>
                  <a:cubicBezTo>
                    <a:pt x="258" y="160"/>
                    <a:pt x="255" y="149"/>
                    <a:pt x="254" y="146"/>
                  </a:cubicBezTo>
                  <a:cubicBezTo>
                    <a:pt x="254" y="142"/>
                    <a:pt x="255" y="128"/>
                    <a:pt x="250" y="115"/>
                  </a:cubicBezTo>
                  <a:cubicBezTo>
                    <a:pt x="245" y="101"/>
                    <a:pt x="239" y="91"/>
                    <a:pt x="234" y="89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35" y="89"/>
                    <a:pt x="243" y="78"/>
                    <a:pt x="242" y="70"/>
                  </a:cubicBezTo>
                  <a:cubicBezTo>
                    <a:pt x="242" y="70"/>
                    <a:pt x="244" y="65"/>
                    <a:pt x="246" y="64"/>
                  </a:cubicBezTo>
                  <a:cubicBezTo>
                    <a:pt x="246" y="64"/>
                    <a:pt x="259" y="40"/>
                    <a:pt x="245" y="25"/>
                  </a:cubicBezTo>
                  <a:cubicBezTo>
                    <a:pt x="245" y="25"/>
                    <a:pt x="226" y="0"/>
                    <a:pt x="199" y="15"/>
                  </a:cubicBezTo>
                  <a:cubicBezTo>
                    <a:pt x="199" y="15"/>
                    <a:pt x="182" y="28"/>
                    <a:pt x="181" y="45"/>
                  </a:cubicBezTo>
                  <a:cubicBezTo>
                    <a:pt x="181" y="45"/>
                    <a:pt x="176" y="48"/>
                    <a:pt x="180" y="64"/>
                  </a:cubicBezTo>
                  <a:cubicBezTo>
                    <a:pt x="180" y="64"/>
                    <a:pt x="164" y="56"/>
                    <a:pt x="155" y="60"/>
                  </a:cubicBezTo>
                  <a:cubicBezTo>
                    <a:pt x="155" y="60"/>
                    <a:pt x="131" y="66"/>
                    <a:pt x="119" y="77"/>
                  </a:cubicBezTo>
                  <a:cubicBezTo>
                    <a:pt x="119" y="77"/>
                    <a:pt x="97" y="90"/>
                    <a:pt x="87" y="104"/>
                  </a:cubicBezTo>
                  <a:cubicBezTo>
                    <a:pt x="78" y="118"/>
                    <a:pt x="74" y="132"/>
                    <a:pt x="74" y="145"/>
                  </a:cubicBezTo>
                  <a:cubicBezTo>
                    <a:pt x="74" y="158"/>
                    <a:pt x="71" y="161"/>
                    <a:pt x="75" y="163"/>
                  </a:cubicBezTo>
                  <a:cubicBezTo>
                    <a:pt x="75" y="163"/>
                    <a:pt x="78" y="189"/>
                    <a:pt x="79" y="193"/>
                  </a:cubicBezTo>
                  <a:cubicBezTo>
                    <a:pt x="79" y="193"/>
                    <a:pt x="59" y="231"/>
                    <a:pt x="57" y="240"/>
                  </a:cubicBezTo>
                  <a:cubicBezTo>
                    <a:pt x="57" y="240"/>
                    <a:pt x="55" y="244"/>
                    <a:pt x="51" y="243"/>
                  </a:cubicBezTo>
                  <a:cubicBezTo>
                    <a:pt x="51" y="243"/>
                    <a:pt x="49" y="240"/>
                    <a:pt x="42" y="242"/>
                  </a:cubicBezTo>
                  <a:cubicBezTo>
                    <a:pt x="42" y="242"/>
                    <a:pt x="39" y="243"/>
                    <a:pt x="38" y="242"/>
                  </a:cubicBezTo>
                  <a:cubicBezTo>
                    <a:pt x="36" y="241"/>
                    <a:pt x="30" y="240"/>
                    <a:pt x="27" y="245"/>
                  </a:cubicBezTo>
                  <a:cubicBezTo>
                    <a:pt x="25" y="251"/>
                    <a:pt x="27" y="263"/>
                    <a:pt x="29" y="269"/>
                  </a:cubicBezTo>
                  <a:cubicBezTo>
                    <a:pt x="30" y="276"/>
                    <a:pt x="28" y="281"/>
                    <a:pt x="28" y="285"/>
                  </a:cubicBezTo>
                  <a:cubicBezTo>
                    <a:pt x="28" y="288"/>
                    <a:pt x="30" y="295"/>
                    <a:pt x="33" y="297"/>
                  </a:cubicBezTo>
                  <a:cubicBezTo>
                    <a:pt x="33" y="297"/>
                    <a:pt x="31" y="301"/>
                    <a:pt x="27" y="302"/>
                  </a:cubicBezTo>
                  <a:cubicBezTo>
                    <a:pt x="24" y="303"/>
                    <a:pt x="16" y="304"/>
                    <a:pt x="13" y="305"/>
                  </a:cubicBezTo>
                  <a:cubicBezTo>
                    <a:pt x="10" y="306"/>
                    <a:pt x="0" y="307"/>
                    <a:pt x="2" y="310"/>
                  </a:cubicBezTo>
                  <a:close/>
                  <a:moveTo>
                    <a:pt x="80" y="242"/>
                  </a:moveTo>
                  <a:cubicBezTo>
                    <a:pt x="80" y="242"/>
                    <a:pt x="84" y="237"/>
                    <a:pt x="84" y="235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236"/>
                    <a:pt x="83" y="240"/>
                    <a:pt x="84" y="241"/>
                  </a:cubicBezTo>
                  <a:cubicBezTo>
                    <a:pt x="84" y="241"/>
                    <a:pt x="81" y="241"/>
                    <a:pt x="80" y="242"/>
                  </a:cubicBezTo>
                  <a:close/>
                </a:path>
              </a:pathLst>
            </a:custGeom>
            <a:solidFill>
              <a:srgbClr val="178AA1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lstStyle/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任意多边形 50"/>
            <p:cNvSpPr/>
            <p:nvPr>
              <p:custDataLst>
                <p:tags r:id="rId23"/>
              </p:custDataLst>
            </p:nvPr>
          </p:nvSpPr>
          <p:spPr bwMode="auto">
            <a:xfrm>
              <a:off x="11748" y="3865"/>
              <a:ext cx="860" cy="1935"/>
            </a:xfrm>
            <a:custGeom>
              <a:avLst/>
              <a:gdLst>
                <a:gd name="T0" fmla="*/ 186 w 194"/>
                <a:gd name="T1" fmla="*/ 40 h 436"/>
                <a:gd name="T2" fmla="*/ 128 w 194"/>
                <a:gd name="T3" fmla="*/ 42 h 436"/>
                <a:gd name="T4" fmla="*/ 120 w 194"/>
                <a:gd name="T5" fmla="*/ 39 h 436"/>
                <a:gd name="T6" fmla="*/ 67 w 194"/>
                <a:gd name="T7" fmla="*/ 41 h 436"/>
                <a:gd name="T8" fmla="*/ 38 w 194"/>
                <a:gd name="T9" fmla="*/ 71 h 436"/>
                <a:gd name="T10" fmla="*/ 6 w 194"/>
                <a:gd name="T11" fmla="*/ 146 h 436"/>
                <a:gd name="T12" fmla="*/ 4 w 194"/>
                <a:gd name="T13" fmla="*/ 176 h 436"/>
                <a:gd name="T14" fmla="*/ 17 w 194"/>
                <a:gd name="T15" fmla="*/ 183 h 436"/>
                <a:gd name="T16" fmla="*/ 42 w 194"/>
                <a:gd name="T17" fmla="*/ 183 h 436"/>
                <a:gd name="T18" fmla="*/ 39 w 194"/>
                <a:gd name="T19" fmla="*/ 230 h 436"/>
                <a:gd name="T20" fmla="*/ 48 w 194"/>
                <a:gd name="T21" fmla="*/ 275 h 436"/>
                <a:gd name="T22" fmla="*/ 54 w 194"/>
                <a:gd name="T23" fmla="*/ 336 h 436"/>
                <a:gd name="T24" fmla="*/ 43 w 194"/>
                <a:gd name="T25" fmla="*/ 376 h 436"/>
                <a:gd name="T26" fmla="*/ 71 w 194"/>
                <a:gd name="T27" fmla="*/ 367 h 436"/>
                <a:gd name="T28" fmla="*/ 69 w 194"/>
                <a:gd name="T29" fmla="*/ 332 h 436"/>
                <a:gd name="T30" fmla="*/ 75 w 194"/>
                <a:gd name="T31" fmla="*/ 285 h 436"/>
                <a:gd name="T32" fmla="*/ 82 w 194"/>
                <a:gd name="T33" fmla="*/ 262 h 436"/>
                <a:gd name="T34" fmla="*/ 94 w 194"/>
                <a:gd name="T35" fmla="*/ 221 h 436"/>
                <a:gd name="T36" fmla="*/ 99 w 194"/>
                <a:gd name="T37" fmla="*/ 233 h 436"/>
                <a:gd name="T38" fmla="*/ 103 w 194"/>
                <a:gd name="T39" fmla="*/ 281 h 436"/>
                <a:gd name="T40" fmla="*/ 102 w 194"/>
                <a:gd name="T41" fmla="*/ 354 h 436"/>
                <a:gd name="T42" fmla="*/ 92 w 194"/>
                <a:gd name="T43" fmla="*/ 395 h 436"/>
                <a:gd name="T44" fmla="*/ 82 w 194"/>
                <a:gd name="T45" fmla="*/ 426 h 436"/>
                <a:gd name="T46" fmla="*/ 117 w 194"/>
                <a:gd name="T47" fmla="*/ 413 h 436"/>
                <a:gd name="T48" fmla="*/ 120 w 194"/>
                <a:gd name="T49" fmla="*/ 363 h 436"/>
                <a:gd name="T50" fmla="*/ 132 w 194"/>
                <a:gd name="T51" fmla="*/ 275 h 436"/>
                <a:gd name="T52" fmla="*/ 150 w 194"/>
                <a:gd name="T53" fmla="*/ 207 h 436"/>
                <a:gd name="T54" fmla="*/ 152 w 194"/>
                <a:gd name="T55" fmla="*/ 201 h 436"/>
                <a:gd name="T56" fmla="*/ 153 w 194"/>
                <a:gd name="T57" fmla="*/ 186 h 436"/>
                <a:gd name="T58" fmla="*/ 152 w 194"/>
                <a:gd name="T59" fmla="*/ 171 h 436"/>
                <a:gd name="T60" fmla="*/ 144 w 194"/>
                <a:gd name="T61" fmla="*/ 141 h 436"/>
                <a:gd name="T62" fmla="*/ 146 w 194"/>
                <a:gd name="T63" fmla="*/ 113 h 436"/>
                <a:gd name="T64" fmla="*/ 167 w 194"/>
                <a:gd name="T65" fmla="*/ 78 h 436"/>
                <a:gd name="T66" fmla="*/ 173 w 194"/>
                <a:gd name="T67" fmla="*/ 117 h 436"/>
                <a:gd name="T68" fmla="*/ 162 w 194"/>
                <a:gd name="T69" fmla="*/ 132 h 436"/>
                <a:gd name="T70" fmla="*/ 165 w 194"/>
                <a:gd name="T71" fmla="*/ 135 h 436"/>
                <a:gd name="T72" fmla="*/ 176 w 194"/>
                <a:gd name="T73" fmla="*/ 138 h 436"/>
                <a:gd name="T74" fmla="*/ 176 w 194"/>
                <a:gd name="T75" fmla="*/ 144 h 436"/>
                <a:gd name="T76" fmla="*/ 172 w 194"/>
                <a:gd name="T77" fmla="*/ 147 h 436"/>
                <a:gd name="T78" fmla="*/ 171 w 194"/>
                <a:gd name="T79" fmla="*/ 151 h 436"/>
                <a:gd name="T80" fmla="*/ 181 w 194"/>
                <a:gd name="T81" fmla="*/ 148 h 436"/>
                <a:gd name="T82" fmla="*/ 189 w 194"/>
                <a:gd name="T83" fmla="*/ 118 h 436"/>
                <a:gd name="T84" fmla="*/ 189 w 194"/>
                <a:gd name="T85" fmla="*/ 53 h 436"/>
                <a:gd name="T86" fmla="*/ 42 w 194"/>
                <a:gd name="T87" fmla="*/ 153 h 436"/>
                <a:gd name="T88" fmla="*/ 48 w 194"/>
                <a:gd name="T89" fmla="*/ 122 h 436"/>
                <a:gd name="T90" fmla="*/ 57 w 194"/>
                <a:gd name="T91" fmla="*/ 129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4" h="436">
                  <a:moveTo>
                    <a:pt x="189" y="53"/>
                  </a:moveTo>
                  <a:cubicBezTo>
                    <a:pt x="186" y="48"/>
                    <a:pt x="186" y="40"/>
                    <a:pt x="186" y="40"/>
                  </a:cubicBezTo>
                  <a:cubicBezTo>
                    <a:pt x="177" y="24"/>
                    <a:pt x="147" y="38"/>
                    <a:pt x="147" y="38"/>
                  </a:cubicBezTo>
                  <a:cubicBezTo>
                    <a:pt x="140" y="37"/>
                    <a:pt x="131" y="42"/>
                    <a:pt x="128" y="42"/>
                  </a:cubicBezTo>
                  <a:cubicBezTo>
                    <a:pt x="126" y="42"/>
                    <a:pt x="123" y="42"/>
                    <a:pt x="123" y="42"/>
                  </a:cubicBezTo>
                  <a:cubicBezTo>
                    <a:pt x="123" y="38"/>
                    <a:pt x="120" y="39"/>
                    <a:pt x="120" y="39"/>
                  </a:cubicBezTo>
                  <a:cubicBezTo>
                    <a:pt x="125" y="0"/>
                    <a:pt x="94" y="2"/>
                    <a:pt x="94" y="2"/>
                  </a:cubicBezTo>
                  <a:cubicBezTo>
                    <a:pt x="59" y="2"/>
                    <a:pt x="67" y="41"/>
                    <a:pt x="67" y="41"/>
                  </a:cubicBezTo>
                  <a:cubicBezTo>
                    <a:pt x="59" y="32"/>
                    <a:pt x="67" y="52"/>
                    <a:pt x="67" y="52"/>
                  </a:cubicBezTo>
                  <a:cubicBezTo>
                    <a:pt x="56" y="53"/>
                    <a:pt x="38" y="71"/>
                    <a:pt x="38" y="71"/>
                  </a:cubicBezTo>
                  <a:cubicBezTo>
                    <a:pt x="23" y="79"/>
                    <a:pt x="26" y="104"/>
                    <a:pt x="21" y="108"/>
                  </a:cubicBezTo>
                  <a:cubicBezTo>
                    <a:pt x="15" y="113"/>
                    <a:pt x="6" y="143"/>
                    <a:pt x="6" y="146"/>
                  </a:cubicBezTo>
                  <a:cubicBezTo>
                    <a:pt x="5" y="149"/>
                    <a:pt x="6" y="154"/>
                    <a:pt x="3" y="161"/>
                  </a:cubicBezTo>
                  <a:cubicBezTo>
                    <a:pt x="0" y="168"/>
                    <a:pt x="0" y="167"/>
                    <a:pt x="4" y="176"/>
                  </a:cubicBezTo>
                  <a:cubicBezTo>
                    <a:pt x="8" y="185"/>
                    <a:pt x="11" y="183"/>
                    <a:pt x="11" y="183"/>
                  </a:cubicBezTo>
                  <a:cubicBezTo>
                    <a:pt x="13" y="182"/>
                    <a:pt x="17" y="183"/>
                    <a:pt x="17" y="183"/>
                  </a:cubicBezTo>
                  <a:cubicBezTo>
                    <a:pt x="25" y="185"/>
                    <a:pt x="42" y="181"/>
                    <a:pt x="42" y="181"/>
                  </a:cubicBezTo>
                  <a:cubicBezTo>
                    <a:pt x="42" y="183"/>
                    <a:pt x="42" y="183"/>
                    <a:pt x="42" y="183"/>
                  </a:cubicBezTo>
                  <a:cubicBezTo>
                    <a:pt x="39" y="184"/>
                    <a:pt x="40" y="191"/>
                    <a:pt x="40" y="191"/>
                  </a:cubicBezTo>
                  <a:cubicBezTo>
                    <a:pt x="38" y="196"/>
                    <a:pt x="41" y="216"/>
                    <a:pt x="39" y="230"/>
                  </a:cubicBezTo>
                  <a:cubicBezTo>
                    <a:pt x="37" y="244"/>
                    <a:pt x="48" y="258"/>
                    <a:pt x="48" y="258"/>
                  </a:cubicBezTo>
                  <a:cubicBezTo>
                    <a:pt x="49" y="260"/>
                    <a:pt x="48" y="275"/>
                    <a:pt x="48" y="275"/>
                  </a:cubicBezTo>
                  <a:cubicBezTo>
                    <a:pt x="42" y="286"/>
                    <a:pt x="44" y="301"/>
                    <a:pt x="46" y="306"/>
                  </a:cubicBezTo>
                  <a:cubicBezTo>
                    <a:pt x="48" y="311"/>
                    <a:pt x="53" y="328"/>
                    <a:pt x="54" y="336"/>
                  </a:cubicBezTo>
                  <a:cubicBezTo>
                    <a:pt x="56" y="343"/>
                    <a:pt x="51" y="355"/>
                    <a:pt x="49" y="359"/>
                  </a:cubicBezTo>
                  <a:cubicBezTo>
                    <a:pt x="47" y="364"/>
                    <a:pt x="43" y="376"/>
                    <a:pt x="43" y="376"/>
                  </a:cubicBezTo>
                  <a:cubicBezTo>
                    <a:pt x="39" y="387"/>
                    <a:pt x="68" y="383"/>
                    <a:pt x="68" y="383"/>
                  </a:cubicBezTo>
                  <a:cubicBezTo>
                    <a:pt x="73" y="380"/>
                    <a:pt x="71" y="374"/>
                    <a:pt x="71" y="367"/>
                  </a:cubicBezTo>
                  <a:cubicBezTo>
                    <a:pt x="72" y="360"/>
                    <a:pt x="75" y="359"/>
                    <a:pt x="75" y="354"/>
                  </a:cubicBezTo>
                  <a:cubicBezTo>
                    <a:pt x="74" y="350"/>
                    <a:pt x="70" y="338"/>
                    <a:pt x="69" y="332"/>
                  </a:cubicBezTo>
                  <a:cubicBezTo>
                    <a:pt x="67" y="326"/>
                    <a:pt x="67" y="321"/>
                    <a:pt x="70" y="314"/>
                  </a:cubicBezTo>
                  <a:cubicBezTo>
                    <a:pt x="73" y="306"/>
                    <a:pt x="77" y="290"/>
                    <a:pt x="75" y="285"/>
                  </a:cubicBezTo>
                  <a:cubicBezTo>
                    <a:pt x="74" y="280"/>
                    <a:pt x="75" y="275"/>
                    <a:pt x="75" y="275"/>
                  </a:cubicBezTo>
                  <a:cubicBezTo>
                    <a:pt x="76" y="273"/>
                    <a:pt x="82" y="262"/>
                    <a:pt x="82" y="262"/>
                  </a:cubicBezTo>
                  <a:cubicBezTo>
                    <a:pt x="85" y="260"/>
                    <a:pt x="89" y="240"/>
                    <a:pt x="89" y="239"/>
                  </a:cubicBezTo>
                  <a:cubicBezTo>
                    <a:pt x="90" y="238"/>
                    <a:pt x="91" y="224"/>
                    <a:pt x="94" y="221"/>
                  </a:cubicBezTo>
                  <a:cubicBezTo>
                    <a:pt x="97" y="219"/>
                    <a:pt x="98" y="226"/>
                    <a:pt x="98" y="227"/>
                  </a:cubicBezTo>
                  <a:cubicBezTo>
                    <a:pt x="98" y="228"/>
                    <a:pt x="99" y="233"/>
                    <a:pt x="99" y="233"/>
                  </a:cubicBezTo>
                  <a:cubicBezTo>
                    <a:pt x="98" y="237"/>
                    <a:pt x="103" y="261"/>
                    <a:pt x="103" y="261"/>
                  </a:cubicBezTo>
                  <a:cubicBezTo>
                    <a:pt x="100" y="266"/>
                    <a:pt x="103" y="281"/>
                    <a:pt x="103" y="281"/>
                  </a:cubicBezTo>
                  <a:cubicBezTo>
                    <a:pt x="105" y="285"/>
                    <a:pt x="105" y="292"/>
                    <a:pt x="105" y="292"/>
                  </a:cubicBezTo>
                  <a:cubicBezTo>
                    <a:pt x="99" y="303"/>
                    <a:pt x="102" y="348"/>
                    <a:pt x="102" y="354"/>
                  </a:cubicBezTo>
                  <a:cubicBezTo>
                    <a:pt x="101" y="360"/>
                    <a:pt x="100" y="378"/>
                    <a:pt x="97" y="382"/>
                  </a:cubicBezTo>
                  <a:cubicBezTo>
                    <a:pt x="94" y="386"/>
                    <a:pt x="93" y="390"/>
                    <a:pt x="92" y="395"/>
                  </a:cubicBezTo>
                  <a:cubicBezTo>
                    <a:pt x="91" y="400"/>
                    <a:pt x="89" y="409"/>
                    <a:pt x="89" y="409"/>
                  </a:cubicBezTo>
                  <a:cubicBezTo>
                    <a:pt x="84" y="413"/>
                    <a:pt x="82" y="426"/>
                    <a:pt x="82" y="426"/>
                  </a:cubicBezTo>
                  <a:cubicBezTo>
                    <a:pt x="81" y="436"/>
                    <a:pt x="115" y="430"/>
                    <a:pt x="115" y="430"/>
                  </a:cubicBezTo>
                  <a:cubicBezTo>
                    <a:pt x="120" y="426"/>
                    <a:pt x="118" y="418"/>
                    <a:pt x="117" y="413"/>
                  </a:cubicBezTo>
                  <a:cubicBezTo>
                    <a:pt x="117" y="407"/>
                    <a:pt x="116" y="389"/>
                    <a:pt x="116" y="389"/>
                  </a:cubicBezTo>
                  <a:cubicBezTo>
                    <a:pt x="112" y="381"/>
                    <a:pt x="120" y="363"/>
                    <a:pt x="120" y="363"/>
                  </a:cubicBezTo>
                  <a:cubicBezTo>
                    <a:pt x="141" y="300"/>
                    <a:pt x="132" y="287"/>
                    <a:pt x="132" y="287"/>
                  </a:cubicBezTo>
                  <a:cubicBezTo>
                    <a:pt x="132" y="287"/>
                    <a:pt x="132" y="280"/>
                    <a:pt x="132" y="275"/>
                  </a:cubicBezTo>
                  <a:cubicBezTo>
                    <a:pt x="132" y="269"/>
                    <a:pt x="128" y="271"/>
                    <a:pt x="138" y="252"/>
                  </a:cubicBezTo>
                  <a:cubicBezTo>
                    <a:pt x="148" y="234"/>
                    <a:pt x="150" y="208"/>
                    <a:pt x="150" y="207"/>
                  </a:cubicBezTo>
                  <a:cubicBezTo>
                    <a:pt x="151" y="206"/>
                    <a:pt x="151" y="205"/>
                    <a:pt x="150" y="203"/>
                  </a:cubicBezTo>
                  <a:cubicBezTo>
                    <a:pt x="149" y="201"/>
                    <a:pt x="150" y="203"/>
                    <a:pt x="152" y="201"/>
                  </a:cubicBezTo>
                  <a:cubicBezTo>
                    <a:pt x="153" y="199"/>
                    <a:pt x="152" y="195"/>
                    <a:pt x="152" y="194"/>
                  </a:cubicBezTo>
                  <a:cubicBezTo>
                    <a:pt x="153" y="192"/>
                    <a:pt x="153" y="188"/>
                    <a:pt x="153" y="186"/>
                  </a:cubicBezTo>
                  <a:cubicBezTo>
                    <a:pt x="153" y="184"/>
                    <a:pt x="153" y="180"/>
                    <a:pt x="153" y="178"/>
                  </a:cubicBezTo>
                  <a:cubicBezTo>
                    <a:pt x="153" y="176"/>
                    <a:pt x="151" y="176"/>
                    <a:pt x="152" y="171"/>
                  </a:cubicBezTo>
                  <a:cubicBezTo>
                    <a:pt x="153" y="167"/>
                    <a:pt x="151" y="162"/>
                    <a:pt x="151" y="162"/>
                  </a:cubicBezTo>
                  <a:cubicBezTo>
                    <a:pt x="152" y="153"/>
                    <a:pt x="143" y="143"/>
                    <a:pt x="144" y="141"/>
                  </a:cubicBezTo>
                  <a:cubicBezTo>
                    <a:pt x="144" y="138"/>
                    <a:pt x="143" y="128"/>
                    <a:pt x="142" y="126"/>
                  </a:cubicBezTo>
                  <a:cubicBezTo>
                    <a:pt x="142" y="125"/>
                    <a:pt x="146" y="113"/>
                    <a:pt x="146" y="113"/>
                  </a:cubicBezTo>
                  <a:cubicBezTo>
                    <a:pt x="149" y="110"/>
                    <a:pt x="156" y="89"/>
                    <a:pt x="157" y="88"/>
                  </a:cubicBezTo>
                  <a:cubicBezTo>
                    <a:pt x="157" y="87"/>
                    <a:pt x="167" y="78"/>
                    <a:pt x="167" y="78"/>
                  </a:cubicBezTo>
                  <a:cubicBezTo>
                    <a:pt x="167" y="80"/>
                    <a:pt x="175" y="106"/>
                    <a:pt x="175" y="109"/>
                  </a:cubicBezTo>
                  <a:cubicBezTo>
                    <a:pt x="176" y="112"/>
                    <a:pt x="176" y="115"/>
                    <a:pt x="173" y="117"/>
                  </a:cubicBezTo>
                  <a:cubicBezTo>
                    <a:pt x="170" y="119"/>
                    <a:pt x="168" y="124"/>
                    <a:pt x="167" y="126"/>
                  </a:cubicBezTo>
                  <a:cubicBezTo>
                    <a:pt x="165" y="128"/>
                    <a:pt x="164" y="131"/>
                    <a:pt x="162" y="132"/>
                  </a:cubicBezTo>
                  <a:cubicBezTo>
                    <a:pt x="160" y="133"/>
                    <a:pt x="157" y="135"/>
                    <a:pt x="157" y="135"/>
                  </a:cubicBezTo>
                  <a:cubicBezTo>
                    <a:pt x="154" y="143"/>
                    <a:pt x="165" y="135"/>
                    <a:pt x="165" y="135"/>
                  </a:cubicBezTo>
                  <a:cubicBezTo>
                    <a:pt x="167" y="133"/>
                    <a:pt x="170" y="132"/>
                    <a:pt x="170" y="132"/>
                  </a:cubicBezTo>
                  <a:cubicBezTo>
                    <a:pt x="178" y="132"/>
                    <a:pt x="176" y="138"/>
                    <a:pt x="176" y="138"/>
                  </a:cubicBezTo>
                  <a:cubicBezTo>
                    <a:pt x="169" y="136"/>
                    <a:pt x="172" y="139"/>
                    <a:pt x="172" y="139"/>
                  </a:cubicBezTo>
                  <a:cubicBezTo>
                    <a:pt x="175" y="139"/>
                    <a:pt x="176" y="144"/>
                    <a:pt x="176" y="144"/>
                  </a:cubicBezTo>
                  <a:cubicBezTo>
                    <a:pt x="175" y="145"/>
                    <a:pt x="169" y="143"/>
                    <a:pt x="169" y="143"/>
                  </a:cubicBezTo>
                  <a:cubicBezTo>
                    <a:pt x="164" y="143"/>
                    <a:pt x="172" y="147"/>
                    <a:pt x="172" y="147"/>
                  </a:cubicBezTo>
                  <a:cubicBezTo>
                    <a:pt x="168" y="147"/>
                    <a:pt x="168" y="147"/>
                    <a:pt x="168" y="147"/>
                  </a:cubicBezTo>
                  <a:cubicBezTo>
                    <a:pt x="160" y="147"/>
                    <a:pt x="171" y="151"/>
                    <a:pt x="171" y="151"/>
                  </a:cubicBezTo>
                  <a:cubicBezTo>
                    <a:pt x="163" y="156"/>
                    <a:pt x="173" y="154"/>
                    <a:pt x="174" y="154"/>
                  </a:cubicBezTo>
                  <a:cubicBezTo>
                    <a:pt x="176" y="153"/>
                    <a:pt x="181" y="148"/>
                    <a:pt x="181" y="148"/>
                  </a:cubicBezTo>
                  <a:cubicBezTo>
                    <a:pt x="186" y="142"/>
                    <a:pt x="186" y="142"/>
                    <a:pt x="186" y="142"/>
                  </a:cubicBezTo>
                  <a:cubicBezTo>
                    <a:pt x="189" y="138"/>
                    <a:pt x="188" y="123"/>
                    <a:pt x="189" y="118"/>
                  </a:cubicBezTo>
                  <a:cubicBezTo>
                    <a:pt x="189" y="112"/>
                    <a:pt x="188" y="100"/>
                    <a:pt x="188" y="100"/>
                  </a:cubicBezTo>
                  <a:cubicBezTo>
                    <a:pt x="194" y="73"/>
                    <a:pt x="189" y="53"/>
                    <a:pt x="189" y="53"/>
                  </a:cubicBezTo>
                  <a:close/>
                  <a:moveTo>
                    <a:pt x="50" y="151"/>
                  </a:moveTo>
                  <a:cubicBezTo>
                    <a:pt x="50" y="151"/>
                    <a:pt x="43" y="152"/>
                    <a:pt x="42" y="153"/>
                  </a:cubicBezTo>
                  <a:cubicBezTo>
                    <a:pt x="40" y="155"/>
                    <a:pt x="35" y="155"/>
                    <a:pt x="33" y="154"/>
                  </a:cubicBezTo>
                  <a:cubicBezTo>
                    <a:pt x="33" y="154"/>
                    <a:pt x="48" y="141"/>
                    <a:pt x="48" y="122"/>
                  </a:cubicBezTo>
                  <a:cubicBezTo>
                    <a:pt x="48" y="122"/>
                    <a:pt x="50" y="115"/>
                    <a:pt x="55" y="119"/>
                  </a:cubicBezTo>
                  <a:cubicBezTo>
                    <a:pt x="55" y="119"/>
                    <a:pt x="55" y="126"/>
                    <a:pt x="57" y="129"/>
                  </a:cubicBezTo>
                  <a:cubicBezTo>
                    <a:pt x="57" y="129"/>
                    <a:pt x="55" y="146"/>
                    <a:pt x="50" y="151"/>
                  </a:cubicBezTo>
                  <a:close/>
                </a:path>
              </a:pathLst>
            </a:custGeom>
            <a:solidFill>
              <a:srgbClr val="4276AA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lstStyle/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任意多边形 51"/>
            <p:cNvSpPr/>
            <p:nvPr>
              <p:custDataLst>
                <p:tags r:id="rId24"/>
              </p:custDataLst>
            </p:nvPr>
          </p:nvSpPr>
          <p:spPr bwMode="auto">
            <a:xfrm>
              <a:off x="14353" y="2925"/>
              <a:ext cx="1835" cy="2023"/>
            </a:xfrm>
            <a:custGeom>
              <a:avLst/>
              <a:gdLst>
                <a:gd name="T0" fmla="*/ 539 w 1159"/>
                <a:gd name="T1" fmla="*/ 152 h 1485"/>
                <a:gd name="T2" fmla="*/ 636 w 1159"/>
                <a:gd name="T3" fmla="*/ 220 h 1485"/>
                <a:gd name="T4" fmla="*/ 635 w 1159"/>
                <a:gd name="T5" fmla="*/ 258 h 1485"/>
                <a:gd name="T6" fmla="*/ 599 w 1159"/>
                <a:gd name="T7" fmla="*/ 303 h 1485"/>
                <a:gd name="T8" fmla="*/ 634 w 1159"/>
                <a:gd name="T9" fmla="*/ 331 h 1485"/>
                <a:gd name="T10" fmla="*/ 884 w 1159"/>
                <a:gd name="T11" fmla="*/ 348 h 1485"/>
                <a:gd name="T12" fmla="*/ 1030 w 1159"/>
                <a:gd name="T13" fmla="*/ 255 h 1485"/>
                <a:gd name="T14" fmla="*/ 1103 w 1159"/>
                <a:gd name="T15" fmla="*/ 234 h 1485"/>
                <a:gd name="T16" fmla="*/ 1104 w 1159"/>
                <a:gd name="T17" fmla="*/ 252 h 1485"/>
                <a:gd name="T18" fmla="*/ 1100 w 1159"/>
                <a:gd name="T19" fmla="*/ 287 h 1485"/>
                <a:gd name="T20" fmla="*/ 1061 w 1159"/>
                <a:gd name="T21" fmla="*/ 294 h 1485"/>
                <a:gd name="T22" fmla="*/ 1033 w 1159"/>
                <a:gd name="T23" fmla="*/ 303 h 1485"/>
                <a:gd name="T24" fmla="*/ 987 w 1159"/>
                <a:gd name="T25" fmla="*/ 351 h 1485"/>
                <a:gd name="T26" fmla="*/ 909 w 1159"/>
                <a:gd name="T27" fmla="*/ 404 h 1485"/>
                <a:gd name="T28" fmla="*/ 836 w 1159"/>
                <a:gd name="T29" fmla="*/ 410 h 1485"/>
                <a:gd name="T30" fmla="*/ 690 w 1159"/>
                <a:gd name="T31" fmla="*/ 415 h 1485"/>
                <a:gd name="T32" fmla="*/ 687 w 1159"/>
                <a:gd name="T33" fmla="*/ 504 h 1485"/>
                <a:gd name="T34" fmla="*/ 682 w 1159"/>
                <a:gd name="T35" fmla="*/ 696 h 1485"/>
                <a:gd name="T36" fmla="*/ 683 w 1159"/>
                <a:gd name="T37" fmla="*/ 823 h 1485"/>
                <a:gd name="T38" fmla="*/ 667 w 1159"/>
                <a:gd name="T39" fmla="*/ 849 h 1485"/>
                <a:gd name="T40" fmla="*/ 624 w 1159"/>
                <a:gd name="T41" fmla="*/ 1084 h 1485"/>
                <a:gd name="T42" fmla="*/ 575 w 1159"/>
                <a:gd name="T43" fmla="*/ 1048 h 1485"/>
                <a:gd name="T44" fmla="*/ 567 w 1159"/>
                <a:gd name="T45" fmla="*/ 1000 h 1485"/>
                <a:gd name="T46" fmla="*/ 554 w 1159"/>
                <a:gd name="T47" fmla="*/ 954 h 1485"/>
                <a:gd name="T48" fmla="*/ 538 w 1159"/>
                <a:gd name="T49" fmla="*/ 1012 h 1485"/>
                <a:gd name="T50" fmla="*/ 538 w 1159"/>
                <a:gd name="T51" fmla="*/ 1085 h 1485"/>
                <a:gd name="T52" fmla="*/ 538 w 1159"/>
                <a:gd name="T53" fmla="*/ 1163 h 1485"/>
                <a:gd name="T54" fmla="*/ 523 w 1159"/>
                <a:gd name="T55" fmla="*/ 1357 h 1485"/>
                <a:gd name="T56" fmla="*/ 552 w 1159"/>
                <a:gd name="T57" fmla="*/ 1417 h 1485"/>
                <a:gd name="T58" fmla="*/ 557 w 1159"/>
                <a:gd name="T59" fmla="*/ 1460 h 1485"/>
                <a:gd name="T60" fmla="*/ 477 w 1159"/>
                <a:gd name="T61" fmla="*/ 1470 h 1485"/>
                <a:gd name="T62" fmla="*/ 473 w 1159"/>
                <a:gd name="T63" fmla="*/ 1434 h 1485"/>
                <a:gd name="T64" fmla="*/ 469 w 1159"/>
                <a:gd name="T65" fmla="*/ 1399 h 1485"/>
                <a:gd name="T66" fmla="*/ 473 w 1159"/>
                <a:gd name="T67" fmla="*/ 1369 h 1485"/>
                <a:gd name="T68" fmla="*/ 454 w 1159"/>
                <a:gd name="T69" fmla="*/ 1166 h 1485"/>
                <a:gd name="T70" fmla="*/ 467 w 1159"/>
                <a:gd name="T71" fmla="*/ 1045 h 1485"/>
                <a:gd name="T72" fmla="*/ 429 w 1159"/>
                <a:gd name="T73" fmla="*/ 847 h 1485"/>
                <a:gd name="T74" fmla="*/ 385 w 1159"/>
                <a:gd name="T75" fmla="*/ 838 h 1485"/>
                <a:gd name="T76" fmla="*/ 390 w 1159"/>
                <a:gd name="T77" fmla="*/ 752 h 1485"/>
                <a:gd name="T78" fmla="*/ 431 w 1159"/>
                <a:gd name="T79" fmla="*/ 682 h 1485"/>
                <a:gd name="T80" fmla="*/ 441 w 1159"/>
                <a:gd name="T81" fmla="*/ 658 h 1485"/>
                <a:gd name="T82" fmla="*/ 413 w 1159"/>
                <a:gd name="T83" fmla="*/ 548 h 1485"/>
                <a:gd name="T84" fmla="*/ 419 w 1159"/>
                <a:gd name="T85" fmla="*/ 438 h 1485"/>
                <a:gd name="T86" fmla="*/ 238 w 1159"/>
                <a:gd name="T87" fmla="*/ 322 h 1485"/>
                <a:gd name="T88" fmla="*/ 197 w 1159"/>
                <a:gd name="T89" fmla="*/ 293 h 1485"/>
                <a:gd name="T90" fmla="*/ 75 w 1159"/>
                <a:gd name="T91" fmla="*/ 139 h 1485"/>
                <a:gd name="T92" fmla="*/ 11 w 1159"/>
                <a:gd name="T93" fmla="*/ 85 h 1485"/>
                <a:gd name="T94" fmla="*/ 16 w 1159"/>
                <a:gd name="T95" fmla="*/ 63 h 1485"/>
                <a:gd name="T96" fmla="*/ 28 w 1159"/>
                <a:gd name="T97" fmla="*/ 47 h 1485"/>
                <a:gd name="T98" fmla="*/ 24 w 1159"/>
                <a:gd name="T99" fmla="*/ 21 h 1485"/>
                <a:gd name="T100" fmla="*/ 114 w 1159"/>
                <a:gd name="T101" fmla="*/ 128 h 1485"/>
                <a:gd name="T102" fmla="*/ 250 w 1159"/>
                <a:gd name="T103" fmla="*/ 265 h 1485"/>
                <a:gd name="T104" fmla="*/ 466 w 1159"/>
                <a:gd name="T105" fmla="*/ 330 h 1485"/>
                <a:gd name="T106" fmla="*/ 506 w 1159"/>
                <a:gd name="T107" fmla="*/ 290 h 1485"/>
                <a:gd name="T108" fmla="*/ 492 w 1159"/>
                <a:gd name="T109" fmla="*/ 255 h 1485"/>
                <a:gd name="T110" fmla="*/ 501 w 1159"/>
                <a:gd name="T111" fmla="*/ 227 h 1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485">
                  <a:moveTo>
                    <a:pt x="503" y="222"/>
                  </a:moveTo>
                  <a:cubicBezTo>
                    <a:pt x="503" y="222"/>
                    <a:pt x="512" y="165"/>
                    <a:pt x="539" y="152"/>
                  </a:cubicBezTo>
                  <a:cubicBezTo>
                    <a:pt x="539" y="152"/>
                    <a:pt x="583" y="121"/>
                    <a:pt x="621" y="170"/>
                  </a:cubicBezTo>
                  <a:cubicBezTo>
                    <a:pt x="621" y="170"/>
                    <a:pt x="639" y="189"/>
                    <a:pt x="636" y="220"/>
                  </a:cubicBezTo>
                  <a:cubicBezTo>
                    <a:pt x="636" y="222"/>
                    <a:pt x="632" y="236"/>
                    <a:pt x="633" y="235"/>
                  </a:cubicBezTo>
                  <a:cubicBezTo>
                    <a:pt x="649" y="231"/>
                    <a:pt x="639" y="254"/>
                    <a:pt x="635" y="258"/>
                  </a:cubicBezTo>
                  <a:cubicBezTo>
                    <a:pt x="627" y="267"/>
                    <a:pt x="627" y="267"/>
                    <a:pt x="622" y="265"/>
                  </a:cubicBezTo>
                  <a:cubicBezTo>
                    <a:pt x="622" y="265"/>
                    <a:pt x="603" y="290"/>
                    <a:pt x="599" y="303"/>
                  </a:cubicBezTo>
                  <a:cubicBezTo>
                    <a:pt x="594" y="318"/>
                    <a:pt x="602" y="323"/>
                    <a:pt x="602" y="323"/>
                  </a:cubicBezTo>
                  <a:cubicBezTo>
                    <a:pt x="602" y="323"/>
                    <a:pt x="620" y="322"/>
                    <a:pt x="634" y="331"/>
                  </a:cubicBezTo>
                  <a:cubicBezTo>
                    <a:pt x="647" y="340"/>
                    <a:pt x="703" y="324"/>
                    <a:pt x="730" y="340"/>
                  </a:cubicBezTo>
                  <a:cubicBezTo>
                    <a:pt x="757" y="356"/>
                    <a:pt x="873" y="348"/>
                    <a:pt x="884" y="348"/>
                  </a:cubicBezTo>
                  <a:cubicBezTo>
                    <a:pt x="894" y="348"/>
                    <a:pt x="966" y="297"/>
                    <a:pt x="966" y="297"/>
                  </a:cubicBezTo>
                  <a:cubicBezTo>
                    <a:pt x="966" y="297"/>
                    <a:pt x="1020" y="265"/>
                    <a:pt x="1030" y="255"/>
                  </a:cubicBezTo>
                  <a:cubicBezTo>
                    <a:pt x="1037" y="247"/>
                    <a:pt x="1159" y="190"/>
                    <a:pt x="1150" y="212"/>
                  </a:cubicBezTo>
                  <a:cubicBezTo>
                    <a:pt x="1150" y="212"/>
                    <a:pt x="1107" y="233"/>
                    <a:pt x="1103" y="234"/>
                  </a:cubicBezTo>
                  <a:cubicBezTo>
                    <a:pt x="1101" y="235"/>
                    <a:pt x="1111" y="237"/>
                    <a:pt x="1110" y="244"/>
                  </a:cubicBezTo>
                  <a:cubicBezTo>
                    <a:pt x="1110" y="248"/>
                    <a:pt x="1100" y="250"/>
                    <a:pt x="1104" y="252"/>
                  </a:cubicBezTo>
                  <a:cubicBezTo>
                    <a:pt x="1120" y="262"/>
                    <a:pt x="1104" y="265"/>
                    <a:pt x="1107" y="268"/>
                  </a:cubicBezTo>
                  <a:cubicBezTo>
                    <a:pt x="1122" y="280"/>
                    <a:pt x="1100" y="287"/>
                    <a:pt x="1100" y="287"/>
                  </a:cubicBezTo>
                  <a:cubicBezTo>
                    <a:pt x="1100" y="287"/>
                    <a:pt x="1085" y="291"/>
                    <a:pt x="1079" y="291"/>
                  </a:cubicBezTo>
                  <a:cubicBezTo>
                    <a:pt x="1073" y="291"/>
                    <a:pt x="1061" y="294"/>
                    <a:pt x="1061" y="294"/>
                  </a:cubicBezTo>
                  <a:cubicBezTo>
                    <a:pt x="1061" y="294"/>
                    <a:pt x="1057" y="296"/>
                    <a:pt x="1050" y="298"/>
                  </a:cubicBezTo>
                  <a:cubicBezTo>
                    <a:pt x="1043" y="301"/>
                    <a:pt x="1033" y="303"/>
                    <a:pt x="1033" y="303"/>
                  </a:cubicBezTo>
                  <a:cubicBezTo>
                    <a:pt x="1033" y="303"/>
                    <a:pt x="1032" y="303"/>
                    <a:pt x="1026" y="309"/>
                  </a:cubicBezTo>
                  <a:cubicBezTo>
                    <a:pt x="1021" y="315"/>
                    <a:pt x="995" y="343"/>
                    <a:pt x="987" y="351"/>
                  </a:cubicBezTo>
                  <a:cubicBezTo>
                    <a:pt x="977" y="360"/>
                    <a:pt x="935" y="388"/>
                    <a:pt x="935" y="388"/>
                  </a:cubicBezTo>
                  <a:cubicBezTo>
                    <a:pt x="935" y="388"/>
                    <a:pt x="919" y="397"/>
                    <a:pt x="909" y="404"/>
                  </a:cubicBezTo>
                  <a:cubicBezTo>
                    <a:pt x="907" y="406"/>
                    <a:pt x="907" y="412"/>
                    <a:pt x="876" y="408"/>
                  </a:cubicBezTo>
                  <a:cubicBezTo>
                    <a:pt x="869" y="407"/>
                    <a:pt x="836" y="410"/>
                    <a:pt x="836" y="410"/>
                  </a:cubicBezTo>
                  <a:cubicBezTo>
                    <a:pt x="836" y="410"/>
                    <a:pt x="781" y="434"/>
                    <a:pt x="711" y="404"/>
                  </a:cubicBezTo>
                  <a:cubicBezTo>
                    <a:pt x="711" y="404"/>
                    <a:pt x="692" y="402"/>
                    <a:pt x="690" y="415"/>
                  </a:cubicBezTo>
                  <a:cubicBezTo>
                    <a:pt x="689" y="427"/>
                    <a:pt x="683" y="441"/>
                    <a:pt x="680" y="458"/>
                  </a:cubicBezTo>
                  <a:cubicBezTo>
                    <a:pt x="677" y="474"/>
                    <a:pt x="687" y="504"/>
                    <a:pt x="687" y="504"/>
                  </a:cubicBezTo>
                  <a:cubicBezTo>
                    <a:pt x="687" y="504"/>
                    <a:pt x="650" y="641"/>
                    <a:pt x="649" y="651"/>
                  </a:cubicBezTo>
                  <a:cubicBezTo>
                    <a:pt x="647" y="660"/>
                    <a:pt x="681" y="688"/>
                    <a:pt x="682" y="696"/>
                  </a:cubicBezTo>
                  <a:cubicBezTo>
                    <a:pt x="683" y="704"/>
                    <a:pt x="686" y="766"/>
                    <a:pt x="686" y="766"/>
                  </a:cubicBezTo>
                  <a:cubicBezTo>
                    <a:pt x="686" y="766"/>
                    <a:pt x="675" y="814"/>
                    <a:pt x="683" y="823"/>
                  </a:cubicBezTo>
                  <a:cubicBezTo>
                    <a:pt x="683" y="823"/>
                    <a:pt x="689" y="826"/>
                    <a:pt x="678" y="835"/>
                  </a:cubicBezTo>
                  <a:cubicBezTo>
                    <a:pt x="666" y="845"/>
                    <a:pt x="667" y="849"/>
                    <a:pt x="667" y="849"/>
                  </a:cubicBezTo>
                  <a:cubicBezTo>
                    <a:pt x="667" y="849"/>
                    <a:pt x="668" y="921"/>
                    <a:pt x="664" y="946"/>
                  </a:cubicBezTo>
                  <a:cubicBezTo>
                    <a:pt x="659" y="970"/>
                    <a:pt x="651" y="1078"/>
                    <a:pt x="624" y="1084"/>
                  </a:cubicBezTo>
                  <a:cubicBezTo>
                    <a:pt x="624" y="1084"/>
                    <a:pt x="603" y="1089"/>
                    <a:pt x="589" y="1068"/>
                  </a:cubicBezTo>
                  <a:cubicBezTo>
                    <a:pt x="589" y="1068"/>
                    <a:pt x="574" y="1056"/>
                    <a:pt x="575" y="1048"/>
                  </a:cubicBezTo>
                  <a:cubicBezTo>
                    <a:pt x="577" y="1040"/>
                    <a:pt x="577" y="1040"/>
                    <a:pt x="577" y="1040"/>
                  </a:cubicBezTo>
                  <a:cubicBezTo>
                    <a:pt x="577" y="1040"/>
                    <a:pt x="563" y="1013"/>
                    <a:pt x="567" y="1000"/>
                  </a:cubicBezTo>
                  <a:cubicBezTo>
                    <a:pt x="565" y="964"/>
                    <a:pt x="565" y="964"/>
                    <a:pt x="565" y="964"/>
                  </a:cubicBezTo>
                  <a:cubicBezTo>
                    <a:pt x="565" y="964"/>
                    <a:pt x="557" y="959"/>
                    <a:pt x="554" y="954"/>
                  </a:cubicBezTo>
                  <a:cubicBezTo>
                    <a:pt x="552" y="949"/>
                    <a:pt x="550" y="940"/>
                    <a:pt x="550" y="940"/>
                  </a:cubicBezTo>
                  <a:cubicBezTo>
                    <a:pt x="550" y="940"/>
                    <a:pt x="535" y="1000"/>
                    <a:pt x="538" y="1012"/>
                  </a:cubicBezTo>
                  <a:cubicBezTo>
                    <a:pt x="540" y="1024"/>
                    <a:pt x="538" y="1052"/>
                    <a:pt x="538" y="1052"/>
                  </a:cubicBezTo>
                  <a:cubicBezTo>
                    <a:pt x="538" y="1052"/>
                    <a:pt x="544" y="1072"/>
                    <a:pt x="538" y="1085"/>
                  </a:cubicBezTo>
                  <a:cubicBezTo>
                    <a:pt x="531" y="1097"/>
                    <a:pt x="530" y="1114"/>
                    <a:pt x="530" y="1114"/>
                  </a:cubicBezTo>
                  <a:cubicBezTo>
                    <a:pt x="530" y="1114"/>
                    <a:pt x="542" y="1146"/>
                    <a:pt x="538" y="1163"/>
                  </a:cubicBezTo>
                  <a:cubicBezTo>
                    <a:pt x="534" y="1181"/>
                    <a:pt x="523" y="1253"/>
                    <a:pt x="523" y="1253"/>
                  </a:cubicBezTo>
                  <a:cubicBezTo>
                    <a:pt x="523" y="1253"/>
                    <a:pt x="520" y="1350"/>
                    <a:pt x="523" y="1357"/>
                  </a:cubicBezTo>
                  <a:cubicBezTo>
                    <a:pt x="527" y="1364"/>
                    <a:pt x="546" y="1384"/>
                    <a:pt x="544" y="1393"/>
                  </a:cubicBezTo>
                  <a:cubicBezTo>
                    <a:pt x="542" y="1403"/>
                    <a:pt x="549" y="1408"/>
                    <a:pt x="552" y="1417"/>
                  </a:cubicBezTo>
                  <a:cubicBezTo>
                    <a:pt x="556" y="1425"/>
                    <a:pt x="550" y="1441"/>
                    <a:pt x="550" y="1441"/>
                  </a:cubicBezTo>
                  <a:cubicBezTo>
                    <a:pt x="550" y="1441"/>
                    <a:pt x="563" y="1457"/>
                    <a:pt x="557" y="1460"/>
                  </a:cubicBezTo>
                  <a:cubicBezTo>
                    <a:pt x="551" y="1462"/>
                    <a:pt x="508" y="1476"/>
                    <a:pt x="502" y="1481"/>
                  </a:cubicBezTo>
                  <a:cubicBezTo>
                    <a:pt x="496" y="1485"/>
                    <a:pt x="479" y="1477"/>
                    <a:pt x="477" y="1470"/>
                  </a:cubicBezTo>
                  <a:cubicBezTo>
                    <a:pt x="474" y="1463"/>
                    <a:pt x="479" y="1453"/>
                    <a:pt x="477" y="1448"/>
                  </a:cubicBezTo>
                  <a:cubicBezTo>
                    <a:pt x="474" y="1443"/>
                    <a:pt x="473" y="1434"/>
                    <a:pt x="473" y="1434"/>
                  </a:cubicBezTo>
                  <a:cubicBezTo>
                    <a:pt x="469" y="1417"/>
                    <a:pt x="469" y="1417"/>
                    <a:pt x="469" y="1417"/>
                  </a:cubicBezTo>
                  <a:cubicBezTo>
                    <a:pt x="469" y="1399"/>
                    <a:pt x="469" y="1399"/>
                    <a:pt x="469" y="1399"/>
                  </a:cubicBezTo>
                  <a:cubicBezTo>
                    <a:pt x="469" y="1399"/>
                    <a:pt x="477" y="1392"/>
                    <a:pt x="472" y="1385"/>
                  </a:cubicBezTo>
                  <a:cubicBezTo>
                    <a:pt x="467" y="1378"/>
                    <a:pt x="473" y="1369"/>
                    <a:pt x="473" y="1369"/>
                  </a:cubicBezTo>
                  <a:cubicBezTo>
                    <a:pt x="478" y="1362"/>
                    <a:pt x="478" y="1362"/>
                    <a:pt x="478" y="1362"/>
                  </a:cubicBezTo>
                  <a:cubicBezTo>
                    <a:pt x="478" y="1362"/>
                    <a:pt x="453" y="1182"/>
                    <a:pt x="454" y="1166"/>
                  </a:cubicBezTo>
                  <a:cubicBezTo>
                    <a:pt x="455" y="1149"/>
                    <a:pt x="457" y="1105"/>
                    <a:pt x="462" y="1105"/>
                  </a:cubicBezTo>
                  <a:cubicBezTo>
                    <a:pt x="468" y="1105"/>
                    <a:pt x="468" y="1055"/>
                    <a:pt x="467" y="1045"/>
                  </a:cubicBezTo>
                  <a:cubicBezTo>
                    <a:pt x="466" y="1034"/>
                    <a:pt x="461" y="1029"/>
                    <a:pt x="456" y="1017"/>
                  </a:cubicBezTo>
                  <a:cubicBezTo>
                    <a:pt x="452" y="1005"/>
                    <a:pt x="422" y="918"/>
                    <a:pt x="429" y="847"/>
                  </a:cubicBezTo>
                  <a:cubicBezTo>
                    <a:pt x="432" y="818"/>
                    <a:pt x="428" y="867"/>
                    <a:pt x="404" y="839"/>
                  </a:cubicBezTo>
                  <a:cubicBezTo>
                    <a:pt x="397" y="830"/>
                    <a:pt x="385" y="838"/>
                    <a:pt x="385" y="838"/>
                  </a:cubicBezTo>
                  <a:cubicBezTo>
                    <a:pt x="385" y="838"/>
                    <a:pt x="345" y="846"/>
                    <a:pt x="377" y="802"/>
                  </a:cubicBezTo>
                  <a:cubicBezTo>
                    <a:pt x="388" y="788"/>
                    <a:pt x="390" y="756"/>
                    <a:pt x="390" y="752"/>
                  </a:cubicBezTo>
                  <a:cubicBezTo>
                    <a:pt x="390" y="745"/>
                    <a:pt x="397" y="747"/>
                    <a:pt x="397" y="747"/>
                  </a:cubicBezTo>
                  <a:cubicBezTo>
                    <a:pt x="397" y="747"/>
                    <a:pt x="425" y="682"/>
                    <a:pt x="431" y="682"/>
                  </a:cubicBezTo>
                  <a:cubicBezTo>
                    <a:pt x="438" y="682"/>
                    <a:pt x="445" y="670"/>
                    <a:pt x="445" y="670"/>
                  </a:cubicBezTo>
                  <a:cubicBezTo>
                    <a:pt x="441" y="658"/>
                    <a:pt x="441" y="658"/>
                    <a:pt x="441" y="658"/>
                  </a:cubicBezTo>
                  <a:cubicBezTo>
                    <a:pt x="441" y="658"/>
                    <a:pt x="429" y="641"/>
                    <a:pt x="421" y="633"/>
                  </a:cubicBezTo>
                  <a:cubicBezTo>
                    <a:pt x="413" y="625"/>
                    <a:pt x="413" y="548"/>
                    <a:pt x="413" y="548"/>
                  </a:cubicBezTo>
                  <a:cubicBezTo>
                    <a:pt x="413" y="478"/>
                    <a:pt x="413" y="478"/>
                    <a:pt x="413" y="478"/>
                  </a:cubicBezTo>
                  <a:cubicBezTo>
                    <a:pt x="413" y="478"/>
                    <a:pt x="419" y="442"/>
                    <a:pt x="419" y="438"/>
                  </a:cubicBezTo>
                  <a:cubicBezTo>
                    <a:pt x="419" y="433"/>
                    <a:pt x="395" y="388"/>
                    <a:pt x="388" y="383"/>
                  </a:cubicBezTo>
                  <a:cubicBezTo>
                    <a:pt x="381" y="379"/>
                    <a:pt x="296" y="376"/>
                    <a:pt x="238" y="322"/>
                  </a:cubicBezTo>
                  <a:cubicBezTo>
                    <a:pt x="238" y="322"/>
                    <a:pt x="230" y="319"/>
                    <a:pt x="213" y="312"/>
                  </a:cubicBezTo>
                  <a:cubicBezTo>
                    <a:pt x="209" y="311"/>
                    <a:pt x="201" y="296"/>
                    <a:pt x="197" y="293"/>
                  </a:cubicBezTo>
                  <a:cubicBezTo>
                    <a:pt x="157" y="269"/>
                    <a:pt x="106" y="210"/>
                    <a:pt x="89" y="156"/>
                  </a:cubicBezTo>
                  <a:cubicBezTo>
                    <a:pt x="89" y="156"/>
                    <a:pt x="79" y="139"/>
                    <a:pt x="75" y="139"/>
                  </a:cubicBezTo>
                  <a:cubicBezTo>
                    <a:pt x="72" y="139"/>
                    <a:pt x="42" y="125"/>
                    <a:pt x="35" y="121"/>
                  </a:cubicBezTo>
                  <a:cubicBezTo>
                    <a:pt x="17" y="110"/>
                    <a:pt x="1" y="91"/>
                    <a:pt x="11" y="85"/>
                  </a:cubicBezTo>
                  <a:cubicBezTo>
                    <a:pt x="14" y="83"/>
                    <a:pt x="8" y="75"/>
                    <a:pt x="11" y="69"/>
                  </a:cubicBezTo>
                  <a:cubicBezTo>
                    <a:pt x="12" y="66"/>
                    <a:pt x="14" y="66"/>
                    <a:pt x="16" y="63"/>
                  </a:cubicBezTo>
                  <a:cubicBezTo>
                    <a:pt x="18" y="60"/>
                    <a:pt x="16" y="52"/>
                    <a:pt x="18" y="49"/>
                  </a:cubicBezTo>
                  <a:cubicBezTo>
                    <a:pt x="20" y="44"/>
                    <a:pt x="28" y="45"/>
                    <a:pt x="28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3" y="0"/>
                    <a:pt x="24" y="21"/>
                  </a:cubicBezTo>
                  <a:cubicBezTo>
                    <a:pt x="33" y="29"/>
                    <a:pt x="55" y="46"/>
                    <a:pt x="72" y="67"/>
                  </a:cubicBezTo>
                  <a:cubicBezTo>
                    <a:pt x="95" y="95"/>
                    <a:pt x="114" y="128"/>
                    <a:pt x="114" y="128"/>
                  </a:cubicBezTo>
                  <a:cubicBezTo>
                    <a:pt x="114" y="128"/>
                    <a:pt x="153" y="160"/>
                    <a:pt x="183" y="190"/>
                  </a:cubicBezTo>
                  <a:cubicBezTo>
                    <a:pt x="219" y="227"/>
                    <a:pt x="246" y="262"/>
                    <a:pt x="250" y="265"/>
                  </a:cubicBezTo>
                  <a:cubicBezTo>
                    <a:pt x="259" y="273"/>
                    <a:pt x="283" y="271"/>
                    <a:pt x="370" y="308"/>
                  </a:cubicBezTo>
                  <a:cubicBezTo>
                    <a:pt x="377" y="311"/>
                    <a:pt x="398" y="297"/>
                    <a:pt x="466" y="330"/>
                  </a:cubicBezTo>
                  <a:cubicBezTo>
                    <a:pt x="466" y="330"/>
                    <a:pt x="484" y="320"/>
                    <a:pt x="502" y="312"/>
                  </a:cubicBezTo>
                  <a:cubicBezTo>
                    <a:pt x="513" y="308"/>
                    <a:pt x="506" y="290"/>
                    <a:pt x="506" y="290"/>
                  </a:cubicBezTo>
                  <a:cubicBezTo>
                    <a:pt x="506" y="290"/>
                    <a:pt x="502" y="264"/>
                    <a:pt x="499" y="263"/>
                  </a:cubicBezTo>
                  <a:cubicBezTo>
                    <a:pt x="497" y="263"/>
                    <a:pt x="492" y="255"/>
                    <a:pt x="492" y="255"/>
                  </a:cubicBezTo>
                  <a:cubicBezTo>
                    <a:pt x="492" y="255"/>
                    <a:pt x="486" y="229"/>
                    <a:pt x="491" y="226"/>
                  </a:cubicBezTo>
                  <a:cubicBezTo>
                    <a:pt x="494" y="223"/>
                    <a:pt x="501" y="227"/>
                    <a:pt x="501" y="227"/>
                  </a:cubicBezTo>
                  <a:lnTo>
                    <a:pt x="503" y="222"/>
                  </a:lnTo>
                  <a:close/>
                </a:path>
              </a:pathLst>
            </a:custGeom>
            <a:solidFill>
              <a:srgbClr val="178AA1"/>
            </a:solidFill>
            <a:ln>
              <a:noFill/>
            </a:ln>
            <a:effectLst>
              <a:outerShdw blurRad="76200" dir="18900000" sy="23000" kx="-1200000" algn="bl" rotWithShape="0">
                <a:srgbClr val="000000">
                  <a:lumMod val="75000"/>
                  <a:lumOff val="25000"/>
                  <a:alpha val="20000"/>
                </a:srgbClr>
              </a:outerShdw>
            </a:effectLst>
          </p:spPr>
          <p:txBody>
            <a:bodyPr lIns="67500" tIns="35100" rIns="67500" bIns="35100" anchor="ctr">
              <a:normAutofit/>
            </a:bodyPr>
            <a:lstStyle/>
            <a:p>
              <a:pPr algn="ctr" fontAlgn="base">
                <a:lnSpc>
                  <a:spcPct val="130000"/>
                </a:lnSpc>
              </a:pPr>
              <a:endParaRPr sz="1350" strike="noStrike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文本框 39"/>
            <p:cNvSpPr txBox="1"/>
            <p:nvPr>
              <p:custDataLst>
                <p:tags r:id="rId25"/>
              </p:custDataLst>
            </p:nvPr>
          </p:nvSpPr>
          <p:spPr>
            <a:xfrm>
              <a:off x="13533" y="7551"/>
              <a:ext cx="2688" cy="1472"/>
            </a:xfrm>
            <a:prstGeom prst="rect">
              <a:avLst/>
            </a:prstGeom>
            <a:noFill/>
          </p:spPr>
          <p:txBody>
            <a:bodyPr wrap="square" bIns="0" rtlCol="0" anchor="b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b="1" spc="300" noProof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全局优化</a:t>
              </a:r>
              <a:endParaRPr lang="zh-CN" altLang="en-US" b="1" spc="300" noProof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1í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ṣļiḑ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3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îṥļiḋé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ïďê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rcRect l="6667" t="3722" r="3837" b="11866"/>
          <a:stretch>
            <a:fillRect/>
          </a:stretch>
        </p:blipFill>
        <p:spPr>
          <a:xfrm>
            <a:off x="1050925" y="1020445"/>
            <a:ext cx="6659880" cy="4817745"/>
          </a:xfrm>
          <a:prstGeom prst="rect">
            <a:avLst/>
          </a:prstGeom>
        </p:spPr>
      </p:pic>
    </p:spTree>
    <p:custDataLst>
      <p:tags r:id="rId4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性能优化层次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2785745" y="1540510"/>
            <a:ext cx="2701290" cy="3415030"/>
            <a:chOff x="7821" y="2689"/>
            <a:chExt cx="4254" cy="5378"/>
          </a:xfrm>
        </p:grpSpPr>
        <p:grpSp>
          <p:nvGrpSpPr>
            <p:cNvPr id="87" name="组合 86"/>
            <p:cNvGrpSpPr/>
            <p:nvPr/>
          </p:nvGrpSpPr>
          <p:grpSpPr>
            <a:xfrm>
              <a:off x="7892" y="2689"/>
              <a:ext cx="4183" cy="1366"/>
              <a:chOff x="5011190" y="1727244"/>
              <a:chExt cx="2656082" cy="867513"/>
            </a:xfrm>
          </p:grpSpPr>
          <p:sp>
            <p:nvSpPr>
              <p:cNvPr id="76" name="任意多边形: 形状 75"/>
              <p:cNvSpPr/>
              <p:nvPr/>
            </p:nvSpPr>
            <p:spPr>
              <a:xfrm>
                <a:off x="5011190" y="1727433"/>
                <a:ext cx="2656082" cy="867324"/>
              </a:xfrm>
              <a:custGeom>
                <a:avLst/>
                <a:gdLst>
                  <a:gd name="connsiteX0" fmla="*/ 96477 w 2656082"/>
                  <a:gd name="connsiteY0" fmla="*/ 0 h 867324"/>
                  <a:gd name="connsiteX1" fmla="*/ 2559605 w 2656082"/>
                  <a:gd name="connsiteY1" fmla="*/ 0 h 867324"/>
                  <a:gd name="connsiteX2" fmla="*/ 2656082 w 2656082"/>
                  <a:gd name="connsiteY2" fmla="*/ 96477 h 867324"/>
                  <a:gd name="connsiteX3" fmla="*/ 2656082 w 2656082"/>
                  <a:gd name="connsiteY3" fmla="*/ 482373 h 867324"/>
                  <a:gd name="connsiteX4" fmla="*/ 2559605 w 2656082"/>
                  <a:gd name="connsiteY4" fmla="*/ 578850 h 867324"/>
                  <a:gd name="connsiteX5" fmla="*/ 2168705 w 2656082"/>
                  <a:gd name="connsiteY5" fmla="*/ 578850 h 867324"/>
                  <a:gd name="connsiteX6" fmla="*/ 2168705 w 2656082"/>
                  <a:gd name="connsiteY6" fmla="*/ 688669 h 867324"/>
                  <a:gd name="connsiteX7" fmla="*/ 2270845 w 2656082"/>
                  <a:gd name="connsiteY7" fmla="*/ 688669 h 867324"/>
                  <a:gd name="connsiteX8" fmla="*/ 2066564 w 2656082"/>
                  <a:gd name="connsiteY8" fmla="*/ 867324 h 867324"/>
                  <a:gd name="connsiteX9" fmla="*/ 1862283 w 2656082"/>
                  <a:gd name="connsiteY9" fmla="*/ 688669 h 867324"/>
                  <a:gd name="connsiteX10" fmla="*/ 1964424 w 2656082"/>
                  <a:gd name="connsiteY10" fmla="*/ 688669 h 867324"/>
                  <a:gd name="connsiteX11" fmla="*/ 1964424 w 2656082"/>
                  <a:gd name="connsiteY11" fmla="*/ 578850 h 867324"/>
                  <a:gd name="connsiteX12" fmla="*/ 96477 w 2656082"/>
                  <a:gd name="connsiteY12" fmla="*/ 578850 h 867324"/>
                  <a:gd name="connsiteX13" fmla="*/ 0 w 2656082"/>
                  <a:gd name="connsiteY13" fmla="*/ 482373 h 867324"/>
                  <a:gd name="connsiteX14" fmla="*/ 0 w 2656082"/>
                  <a:gd name="connsiteY14" fmla="*/ 96477 h 867324"/>
                  <a:gd name="connsiteX15" fmla="*/ 96477 w 2656082"/>
                  <a:gd name="connsiteY15" fmla="*/ 0 h 867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656082" h="867324">
                    <a:moveTo>
                      <a:pt x="96477" y="0"/>
                    </a:moveTo>
                    <a:lnTo>
                      <a:pt x="2559605" y="0"/>
                    </a:lnTo>
                    <a:cubicBezTo>
                      <a:pt x="2612888" y="0"/>
                      <a:pt x="2656082" y="43194"/>
                      <a:pt x="2656082" y="96477"/>
                    </a:cubicBezTo>
                    <a:lnTo>
                      <a:pt x="2656082" y="482373"/>
                    </a:lnTo>
                    <a:cubicBezTo>
                      <a:pt x="2656082" y="535656"/>
                      <a:pt x="2612888" y="578850"/>
                      <a:pt x="2559605" y="578850"/>
                    </a:cubicBezTo>
                    <a:lnTo>
                      <a:pt x="2168705" y="578850"/>
                    </a:lnTo>
                    <a:lnTo>
                      <a:pt x="2168705" y="688669"/>
                    </a:lnTo>
                    <a:lnTo>
                      <a:pt x="2270845" y="688669"/>
                    </a:lnTo>
                    <a:lnTo>
                      <a:pt x="2066564" y="867324"/>
                    </a:lnTo>
                    <a:lnTo>
                      <a:pt x="1862283" y="688669"/>
                    </a:lnTo>
                    <a:lnTo>
                      <a:pt x="1964424" y="688669"/>
                    </a:lnTo>
                    <a:lnTo>
                      <a:pt x="1964424" y="578850"/>
                    </a:lnTo>
                    <a:lnTo>
                      <a:pt x="96477" y="578850"/>
                    </a:lnTo>
                    <a:cubicBezTo>
                      <a:pt x="43194" y="578850"/>
                      <a:pt x="0" y="535656"/>
                      <a:pt x="0" y="482373"/>
                    </a:cubicBezTo>
                    <a:lnTo>
                      <a:pt x="0" y="96477"/>
                    </a:lnTo>
                    <a:cubicBezTo>
                      <a:pt x="0" y="43194"/>
                      <a:pt x="43194" y="0"/>
                      <a:pt x="96477" y="0"/>
                    </a:cubicBezTo>
                    <a:close/>
                  </a:path>
                </a:pathLst>
              </a:custGeom>
              <a:solidFill>
                <a:srgbClr val="E2671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/>
              </a:p>
            </p:txBody>
          </p:sp>
          <p:sp>
            <p:nvSpPr>
              <p:cNvPr id="83" name="矩形 82"/>
              <p:cNvSpPr/>
              <p:nvPr/>
            </p:nvSpPr>
            <p:spPr>
              <a:xfrm>
                <a:off x="5284862" y="1727244"/>
                <a:ext cx="2108737" cy="4717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zh-CN" altLang="en-US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思源黑体 CN Normal" panose="020B0400000000000000" pitchFamily="34" charset="-122"/>
                    <a:ea typeface="思源黑体 CN Normal" panose="020B0400000000000000" pitchFamily="34" charset="-122"/>
                  </a:rPr>
                  <a:t>应用层</a:t>
                </a:r>
                <a:endParaRPr lang="zh-CN" altLang="en-US" sz="3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</p:grpSp>
        <p:grpSp>
          <p:nvGrpSpPr>
            <p:cNvPr id="88" name="组合 87"/>
            <p:cNvGrpSpPr/>
            <p:nvPr/>
          </p:nvGrpSpPr>
          <p:grpSpPr>
            <a:xfrm>
              <a:off x="7892" y="3775"/>
              <a:ext cx="4183" cy="1764"/>
              <a:chOff x="5011663" y="2416658"/>
              <a:chExt cx="2656082" cy="1120354"/>
            </a:xfrm>
          </p:grpSpPr>
          <p:sp>
            <p:nvSpPr>
              <p:cNvPr id="79" name="任意多边形: 形状 78"/>
              <p:cNvSpPr/>
              <p:nvPr/>
            </p:nvSpPr>
            <p:spPr>
              <a:xfrm rot="10800000">
                <a:off x="5011663" y="2416658"/>
                <a:ext cx="2656082" cy="1120354"/>
              </a:xfrm>
              <a:custGeom>
                <a:avLst/>
                <a:gdLst>
                  <a:gd name="connsiteX0" fmla="*/ 2213930 w 2656082"/>
                  <a:gd name="connsiteY0" fmla="*/ 1120354 h 1120354"/>
                  <a:gd name="connsiteX1" fmla="*/ 2009649 w 2656082"/>
                  <a:gd name="connsiteY1" fmla="*/ 941699 h 1120354"/>
                  <a:gd name="connsiteX2" fmla="*/ 2111790 w 2656082"/>
                  <a:gd name="connsiteY2" fmla="*/ 941699 h 1120354"/>
                  <a:gd name="connsiteX3" fmla="*/ 2111790 w 2656082"/>
                  <a:gd name="connsiteY3" fmla="*/ 867324 h 1120354"/>
                  <a:gd name="connsiteX4" fmla="*/ 96477 w 2656082"/>
                  <a:gd name="connsiteY4" fmla="*/ 867324 h 1120354"/>
                  <a:gd name="connsiteX5" fmla="*/ 0 w 2656082"/>
                  <a:gd name="connsiteY5" fmla="*/ 770847 h 1120354"/>
                  <a:gd name="connsiteX6" fmla="*/ 0 w 2656082"/>
                  <a:gd name="connsiteY6" fmla="*/ 384951 h 1120354"/>
                  <a:gd name="connsiteX7" fmla="*/ 96477 w 2656082"/>
                  <a:gd name="connsiteY7" fmla="*/ 288474 h 1120354"/>
                  <a:gd name="connsiteX8" fmla="*/ 487377 w 2656082"/>
                  <a:gd name="connsiteY8" fmla="*/ 288474 h 1120354"/>
                  <a:gd name="connsiteX9" fmla="*/ 487377 w 2656082"/>
                  <a:gd name="connsiteY9" fmla="*/ 178655 h 1120354"/>
                  <a:gd name="connsiteX10" fmla="*/ 385237 w 2656082"/>
                  <a:gd name="connsiteY10" fmla="*/ 178655 h 1120354"/>
                  <a:gd name="connsiteX11" fmla="*/ 589518 w 2656082"/>
                  <a:gd name="connsiteY11" fmla="*/ 0 h 1120354"/>
                  <a:gd name="connsiteX12" fmla="*/ 793799 w 2656082"/>
                  <a:gd name="connsiteY12" fmla="*/ 178655 h 1120354"/>
                  <a:gd name="connsiteX13" fmla="*/ 691658 w 2656082"/>
                  <a:gd name="connsiteY13" fmla="*/ 178655 h 1120354"/>
                  <a:gd name="connsiteX14" fmla="*/ 691658 w 2656082"/>
                  <a:gd name="connsiteY14" fmla="*/ 288474 h 1120354"/>
                  <a:gd name="connsiteX15" fmla="*/ 2559605 w 2656082"/>
                  <a:gd name="connsiteY15" fmla="*/ 288474 h 1120354"/>
                  <a:gd name="connsiteX16" fmla="*/ 2656082 w 2656082"/>
                  <a:gd name="connsiteY16" fmla="*/ 384951 h 1120354"/>
                  <a:gd name="connsiteX17" fmla="*/ 2656082 w 2656082"/>
                  <a:gd name="connsiteY17" fmla="*/ 770847 h 1120354"/>
                  <a:gd name="connsiteX18" fmla="*/ 2559605 w 2656082"/>
                  <a:gd name="connsiteY18" fmla="*/ 867324 h 1120354"/>
                  <a:gd name="connsiteX19" fmla="*/ 2316071 w 2656082"/>
                  <a:gd name="connsiteY19" fmla="*/ 867324 h 1120354"/>
                  <a:gd name="connsiteX20" fmla="*/ 2316071 w 2656082"/>
                  <a:gd name="connsiteY20" fmla="*/ 941699 h 1120354"/>
                  <a:gd name="connsiteX21" fmla="*/ 2418211 w 2656082"/>
                  <a:gd name="connsiteY21" fmla="*/ 941699 h 1120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656082" h="1120354">
                    <a:moveTo>
                      <a:pt x="2213930" y="1120354"/>
                    </a:moveTo>
                    <a:lnTo>
                      <a:pt x="2009649" y="941699"/>
                    </a:lnTo>
                    <a:lnTo>
                      <a:pt x="2111790" y="941699"/>
                    </a:lnTo>
                    <a:lnTo>
                      <a:pt x="2111790" y="867324"/>
                    </a:lnTo>
                    <a:lnTo>
                      <a:pt x="96477" y="867324"/>
                    </a:lnTo>
                    <a:cubicBezTo>
                      <a:pt x="43194" y="867324"/>
                      <a:pt x="0" y="824130"/>
                      <a:pt x="0" y="770847"/>
                    </a:cubicBezTo>
                    <a:lnTo>
                      <a:pt x="0" y="384951"/>
                    </a:lnTo>
                    <a:cubicBezTo>
                      <a:pt x="0" y="331668"/>
                      <a:pt x="43194" y="288474"/>
                      <a:pt x="96477" y="288474"/>
                    </a:cubicBezTo>
                    <a:lnTo>
                      <a:pt x="487377" y="288474"/>
                    </a:lnTo>
                    <a:lnTo>
                      <a:pt x="487377" y="178655"/>
                    </a:lnTo>
                    <a:lnTo>
                      <a:pt x="385237" y="178655"/>
                    </a:lnTo>
                    <a:lnTo>
                      <a:pt x="589518" y="0"/>
                    </a:lnTo>
                    <a:lnTo>
                      <a:pt x="793799" y="178655"/>
                    </a:lnTo>
                    <a:lnTo>
                      <a:pt x="691658" y="178655"/>
                    </a:lnTo>
                    <a:lnTo>
                      <a:pt x="691658" y="288474"/>
                    </a:lnTo>
                    <a:lnTo>
                      <a:pt x="2559605" y="288474"/>
                    </a:lnTo>
                    <a:cubicBezTo>
                      <a:pt x="2612888" y="288474"/>
                      <a:pt x="2656082" y="331668"/>
                      <a:pt x="2656082" y="384951"/>
                    </a:cubicBezTo>
                    <a:lnTo>
                      <a:pt x="2656082" y="770847"/>
                    </a:lnTo>
                    <a:cubicBezTo>
                      <a:pt x="2656082" y="824130"/>
                      <a:pt x="2612888" y="867324"/>
                      <a:pt x="2559605" y="867324"/>
                    </a:cubicBezTo>
                    <a:lnTo>
                      <a:pt x="2316071" y="867324"/>
                    </a:lnTo>
                    <a:lnTo>
                      <a:pt x="2316071" y="941699"/>
                    </a:lnTo>
                    <a:lnTo>
                      <a:pt x="2418211" y="941699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accent4"/>
                  </a:solidFill>
                </a:endParaRPr>
              </a:p>
            </p:txBody>
          </p:sp>
          <p:sp>
            <p:nvSpPr>
              <p:cNvPr id="84" name="矩形 83"/>
              <p:cNvSpPr/>
              <p:nvPr/>
            </p:nvSpPr>
            <p:spPr>
              <a:xfrm>
                <a:off x="5088860" y="2683872"/>
                <a:ext cx="2450076" cy="583676"/>
              </a:xfrm>
              <a:prstGeom prst="rect">
                <a:avLst/>
              </a:prstGeom>
              <a:ln>
                <a:solidFill>
                  <a:srgbClr val="FFC000"/>
                </a:solidFill>
              </a:ln>
            </p:spPr>
            <p:txBody>
              <a:bodyPr wrap="square">
                <a:spAutoFit/>
              </a:bodyPr>
              <a:p>
                <a:pPr algn="ctr"/>
                <a:r>
                  <a:rPr lang="zh-CN" altLang="en-US" sz="3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思源黑体 CN Normal" panose="020B0400000000000000" pitchFamily="34" charset="-122"/>
                    <a:ea typeface="思源黑体 CN Normal" panose="020B0400000000000000" pitchFamily="34" charset="-122"/>
                  </a:rPr>
                  <a:t>组件层</a:t>
                </a:r>
                <a:endParaRPr lang="zh-CN" altLang="en-US" sz="3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</p:grpSp>
        <p:grpSp>
          <p:nvGrpSpPr>
            <p:cNvPr id="89" name="组合 88"/>
            <p:cNvGrpSpPr/>
            <p:nvPr/>
          </p:nvGrpSpPr>
          <p:grpSpPr>
            <a:xfrm>
              <a:off x="7821" y="5289"/>
              <a:ext cx="4244" cy="1764"/>
              <a:chOff x="4966401" y="3377967"/>
              <a:chExt cx="2694994" cy="1120354"/>
            </a:xfrm>
          </p:grpSpPr>
          <p:sp>
            <p:nvSpPr>
              <p:cNvPr id="82" name="任意多边形: 形状 81"/>
              <p:cNvSpPr/>
              <p:nvPr/>
            </p:nvSpPr>
            <p:spPr>
              <a:xfrm rot="10800000">
                <a:off x="5000848" y="3377967"/>
                <a:ext cx="2656082" cy="1120354"/>
              </a:xfrm>
              <a:custGeom>
                <a:avLst/>
                <a:gdLst>
                  <a:gd name="connsiteX0" fmla="*/ 2213930 w 2656082"/>
                  <a:gd name="connsiteY0" fmla="*/ 1120354 h 1120354"/>
                  <a:gd name="connsiteX1" fmla="*/ 2009649 w 2656082"/>
                  <a:gd name="connsiteY1" fmla="*/ 941699 h 1120354"/>
                  <a:gd name="connsiteX2" fmla="*/ 2111790 w 2656082"/>
                  <a:gd name="connsiteY2" fmla="*/ 941699 h 1120354"/>
                  <a:gd name="connsiteX3" fmla="*/ 2111790 w 2656082"/>
                  <a:gd name="connsiteY3" fmla="*/ 867324 h 1120354"/>
                  <a:gd name="connsiteX4" fmla="*/ 96477 w 2656082"/>
                  <a:gd name="connsiteY4" fmla="*/ 867324 h 1120354"/>
                  <a:gd name="connsiteX5" fmla="*/ 0 w 2656082"/>
                  <a:gd name="connsiteY5" fmla="*/ 770847 h 1120354"/>
                  <a:gd name="connsiteX6" fmla="*/ 0 w 2656082"/>
                  <a:gd name="connsiteY6" fmla="*/ 384951 h 1120354"/>
                  <a:gd name="connsiteX7" fmla="*/ 96477 w 2656082"/>
                  <a:gd name="connsiteY7" fmla="*/ 288474 h 1120354"/>
                  <a:gd name="connsiteX8" fmla="*/ 487377 w 2656082"/>
                  <a:gd name="connsiteY8" fmla="*/ 288474 h 1120354"/>
                  <a:gd name="connsiteX9" fmla="*/ 487377 w 2656082"/>
                  <a:gd name="connsiteY9" fmla="*/ 178655 h 1120354"/>
                  <a:gd name="connsiteX10" fmla="*/ 385237 w 2656082"/>
                  <a:gd name="connsiteY10" fmla="*/ 178655 h 1120354"/>
                  <a:gd name="connsiteX11" fmla="*/ 589518 w 2656082"/>
                  <a:gd name="connsiteY11" fmla="*/ 0 h 1120354"/>
                  <a:gd name="connsiteX12" fmla="*/ 793799 w 2656082"/>
                  <a:gd name="connsiteY12" fmla="*/ 178655 h 1120354"/>
                  <a:gd name="connsiteX13" fmla="*/ 691658 w 2656082"/>
                  <a:gd name="connsiteY13" fmla="*/ 178655 h 1120354"/>
                  <a:gd name="connsiteX14" fmla="*/ 691658 w 2656082"/>
                  <a:gd name="connsiteY14" fmla="*/ 288474 h 1120354"/>
                  <a:gd name="connsiteX15" fmla="*/ 2559605 w 2656082"/>
                  <a:gd name="connsiteY15" fmla="*/ 288474 h 1120354"/>
                  <a:gd name="connsiteX16" fmla="*/ 2656082 w 2656082"/>
                  <a:gd name="connsiteY16" fmla="*/ 384951 h 1120354"/>
                  <a:gd name="connsiteX17" fmla="*/ 2656082 w 2656082"/>
                  <a:gd name="connsiteY17" fmla="*/ 770847 h 1120354"/>
                  <a:gd name="connsiteX18" fmla="*/ 2559605 w 2656082"/>
                  <a:gd name="connsiteY18" fmla="*/ 867324 h 1120354"/>
                  <a:gd name="connsiteX19" fmla="*/ 2316071 w 2656082"/>
                  <a:gd name="connsiteY19" fmla="*/ 867324 h 1120354"/>
                  <a:gd name="connsiteX20" fmla="*/ 2316071 w 2656082"/>
                  <a:gd name="connsiteY20" fmla="*/ 941699 h 1120354"/>
                  <a:gd name="connsiteX21" fmla="*/ 2418211 w 2656082"/>
                  <a:gd name="connsiteY21" fmla="*/ 941699 h 1120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656082" h="1120354">
                    <a:moveTo>
                      <a:pt x="2213930" y="1120354"/>
                    </a:moveTo>
                    <a:lnTo>
                      <a:pt x="2009649" y="941699"/>
                    </a:lnTo>
                    <a:lnTo>
                      <a:pt x="2111790" y="941699"/>
                    </a:lnTo>
                    <a:lnTo>
                      <a:pt x="2111790" y="867324"/>
                    </a:lnTo>
                    <a:lnTo>
                      <a:pt x="96477" y="867324"/>
                    </a:lnTo>
                    <a:cubicBezTo>
                      <a:pt x="43194" y="867324"/>
                      <a:pt x="0" y="824130"/>
                      <a:pt x="0" y="770847"/>
                    </a:cubicBezTo>
                    <a:lnTo>
                      <a:pt x="0" y="384951"/>
                    </a:lnTo>
                    <a:cubicBezTo>
                      <a:pt x="0" y="331668"/>
                      <a:pt x="43194" y="288474"/>
                      <a:pt x="96477" y="288474"/>
                    </a:cubicBezTo>
                    <a:lnTo>
                      <a:pt x="487377" y="288474"/>
                    </a:lnTo>
                    <a:lnTo>
                      <a:pt x="487377" y="178655"/>
                    </a:lnTo>
                    <a:lnTo>
                      <a:pt x="385237" y="178655"/>
                    </a:lnTo>
                    <a:lnTo>
                      <a:pt x="589518" y="0"/>
                    </a:lnTo>
                    <a:lnTo>
                      <a:pt x="793799" y="178655"/>
                    </a:lnTo>
                    <a:lnTo>
                      <a:pt x="691658" y="178655"/>
                    </a:lnTo>
                    <a:lnTo>
                      <a:pt x="691658" y="288474"/>
                    </a:lnTo>
                    <a:lnTo>
                      <a:pt x="2559605" y="288474"/>
                    </a:lnTo>
                    <a:cubicBezTo>
                      <a:pt x="2612888" y="288474"/>
                      <a:pt x="2656082" y="331668"/>
                      <a:pt x="2656082" y="384951"/>
                    </a:cubicBezTo>
                    <a:lnTo>
                      <a:pt x="2656082" y="770847"/>
                    </a:lnTo>
                    <a:cubicBezTo>
                      <a:pt x="2656082" y="824130"/>
                      <a:pt x="2612888" y="867324"/>
                      <a:pt x="2559605" y="867324"/>
                    </a:cubicBezTo>
                    <a:lnTo>
                      <a:pt x="2316071" y="867324"/>
                    </a:lnTo>
                    <a:lnTo>
                      <a:pt x="2316071" y="941699"/>
                    </a:lnTo>
                    <a:lnTo>
                      <a:pt x="2418211" y="941699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/>
              </a:p>
            </p:txBody>
          </p:sp>
          <p:sp>
            <p:nvSpPr>
              <p:cNvPr id="85" name="矩形 84"/>
              <p:cNvSpPr/>
              <p:nvPr/>
            </p:nvSpPr>
            <p:spPr>
              <a:xfrm>
                <a:off x="4966401" y="3655859"/>
                <a:ext cx="2694994" cy="58367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zh-CN" altLang="en-US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思源黑体 CN Normal" panose="020B0400000000000000" pitchFamily="34" charset="-122"/>
                    <a:ea typeface="思源黑体 CN Normal" panose="020B0400000000000000" pitchFamily="34" charset="-122"/>
                  </a:rPr>
                  <a:t>系统层</a:t>
                </a:r>
                <a:endParaRPr lang="zh-CN" altLang="en-US" sz="3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</p:grpSp>
        <p:grpSp>
          <p:nvGrpSpPr>
            <p:cNvPr id="90" name="组合 89"/>
            <p:cNvGrpSpPr/>
            <p:nvPr/>
          </p:nvGrpSpPr>
          <p:grpSpPr>
            <a:xfrm>
              <a:off x="7868" y="6788"/>
              <a:ext cx="4183" cy="1279"/>
              <a:chOff x="4996382" y="4329750"/>
              <a:chExt cx="2656082" cy="812071"/>
            </a:xfrm>
          </p:grpSpPr>
          <p:sp>
            <p:nvSpPr>
              <p:cNvPr id="81" name="任意多边形: 形状 80"/>
              <p:cNvSpPr/>
              <p:nvPr/>
            </p:nvSpPr>
            <p:spPr>
              <a:xfrm>
                <a:off x="4996382" y="4329750"/>
                <a:ext cx="2656082" cy="812071"/>
              </a:xfrm>
              <a:custGeom>
                <a:avLst/>
                <a:gdLst>
                  <a:gd name="connsiteX0" fmla="*/ 457320 w 2656082"/>
                  <a:gd name="connsiteY0" fmla="*/ 0 h 812071"/>
                  <a:gd name="connsiteX1" fmla="*/ 661601 w 2656082"/>
                  <a:gd name="connsiteY1" fmla="*/ 178655 h 812071"/>
                  <a:gd name="connsiteX2" fmla="*/ 559460 w 2656082"/>
                  <a:gd name="connsiteY2" fmla="*/ 178655 h 812071"/>
                  <a:gd name="connsiteX3" fmla="*/ 559460 w 2656082"/>
                  <a:gd name="connsiteY3" fmla="*/ 233221 h 812071"/>
                  <a:gd name="connsiteX4" fmla="*/ 2559605 w 2656082"/>
                  <a:gd name="connsiteY4" fmla="*/ 233221 h 812071"/>
                  <a:gd name="connsiteX5" fmla="*/ 2656082 w 2656082"/>
                  <a:gd name="connsiteY5" fmla="*/ 329698 h 812071"/>
                  <a:gd name="connsiteX6" fmla="*/ 2656082 w 2656082"/>
                  <a:gd name="connsiteY6" fmla="*/ 715594 h 812071"/>
                  <a:gd name="connsiteX7" fmla="*/ 2559605 w 2656082"/>
                  <a:gd name="connsiteY7" fmla="*/ 812071 h 812071"/>
                  <a:gd name="connsiteX8" fmla="*/ 96477 w 2656082"/>
                  <a:gd name="connsiteY8" fmla="*/ 812071 h 812071"/>
                  <a:gd name="connsiteX9" fmla="*/ 0 w 2656082"/>
                  <a:gd name="connsiteY9" fmla="*/ 715594 h 812071"/>
                  <a:gd name="connsiteX10" fmla="*/ 0 w 2656082"/>
                  <a:gd name="connsiteY10" fmla="*/ 329698 h 812071"/>
                  <a:gd name="connsiteX11" fmla="*/ 96477 w 2656082"/>
                  <a:gd name="connsiteY11" fmla="*/ 233221 h 812071"/>
                  <a:gd name="connsiteX12" fmla="*/ 355179 w 2656082"/>
                  <a:gd name="connsiteY12" fmla="*/ 233221 h 812071"/>
                  <a:gd name="connsiteX13" fmla="*/ 355179 w 2656082"/>
                  <a:gd name="connsiteY13" fmla="*/ 178655 h 812071"/>
                  <a:gd name="connsiteX14" fmla="*/ 253039 w 2656082"/>
                  <a:gd name="connsiteY14" fmla="*/ 178655 h 812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6082" h="812071">
                    <a:moveTo>
                      <a:pt x="457320" y="0"/>
                    </a:moveTo>
                    <a:lnTo>
                      <a:pt x="661601" y="178655"/>
                    </a:lnTo>
                    <a:lnTo>
                      <a:pt x="559460" y="178655"/>
                    </a:lnTo>
                    <a:lnTo>
                      <a:pt x="559460" y="233221"/>
                    </a:lnTo>
                    <a:lnTo>
                      <a:pt x="2559605" y="233221"/>
                    </a:lnTo>
                    <a:cubicBezTo>
                      <a:pt x="2612888" y="233221"/>
                      <a:pt x="2656082" y="276415"/>
                      <a:pt x="2656082" y="329698"/>
                    </a:cubicBezTo>
                    <a:lnTo>
                      <a:pt x="2656082" y="715594"/>
                    </a:lnTo>
                    <a:cubicBezTo>
                      <a:pt x="2656082" y="768877"/>
                      <a:pt x="2612888" y="812071"/>
                      <a:pt x="2559605" y="812071"/>
                    </a:cubicBezTo>
                    <a:lnTo>
                      <a:pt x="96477" y="812071"/>
                    </a:lnTo>
                    <a:cubicBezTo>
                      <a:pt x="43194" y="812071"/>
                      <a:pt x="0" y="768877"/>
                      <a:pt x="0" y="715594"/>
                    </a:cubicBezTo>
                    <a:lnTo>
                      <a:pt x="0" y="329698"/>
                    </a:lnTo>
                    <a:cubicBezTo>
                      <a:pt x="0" y="276415"/>
                      <a:pt x="43194" y="233221"/>
                      <a:pt x="96477" y="233221"/>
                    </a:cubicBezTo>
                    <a:lnTo>
                      <a:pt x="355179" y="233221"/>
                    </a:lnTo>
                    <a:lnTo>
                      <a:pt x="355179" y="178655"/>
                    </a:lnTo>
                    <a:lnTo>
                      <a:pt x="253039" y="178655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/>
              </a:p>
            </p:txBody>
          </p:sp>
          <p:sp>
            <p:nvSpPr>
              <p:cNvPr id="86" name="矩形 85"/>
              <p:cNvSpPr/>
              <p:nvPr/>
            </p:nvSpPr>
            <p:spPr>
              <a:xfrm>
                <a:off x="5127772" y="4557046"/>
                <a:ext cx="2411164" cy="5834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algn="ctr"/>
                <a:r>
                  <a:rPr lang="zh-CN" altLang="en-US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思源黑体 CN Normal" panose="020B0400000000000000" pitchFamily="34" charset="-122"/>
                    <a:ea typeface="思源黑体 CN Normal" panose="020B0400000000000000" pitchFamily="34" charset="-122"/>
                  </a:rPr>
                  <a:t>硬件层</a:t>
                </a:r>
                <a:endParaRPr lang="zh-CN" altLang="en-US" sz="3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</p:grpSp>
      </p:grpSp>
      <p:sp>
        <p:nvSpPr>
          <p:cNvPr id="5" name="文本框 4"/>
          <p:cNvSpPr txBox="1"/>
          <p:nvPr/>
        </p:nvSpPr>
        <p:spPr>
          <a:xfrm>
            <a:off x="6080760" y="3577590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操作系统</a:t>
            </a:r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5942965" y="2606040"/>
            <a:ext cx="15544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系统编程技术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6080760" y="1644015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应用程序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061710" y="4478020"/>
            <a:ext cx="15544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硬件体系架构</a:t>
            </a:r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性能优化图谱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rcRect r="-53" b="48696"/>
          <a:stretch>
            <a:fillRect/>
          </a:stretch>
        </p:blipFill>
        <p:spPr>
          <a:xfrm>
            <a:off x="49530" y="969010"/>
            <a:ext cx="7162165" cy="577088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rcRect l="22764" t="51539" r="5930" b="2752"/>
          <a:stretch>
            <a:fillRect/>
          </a:stretch>
        </p:blipFill>
        <p:spPr>
          <a:xfrm>
            <a:off x="6369685" y="1174750"/>
            <a:ext cx="4963160" cy="499999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系统性能专家 Brendan Gregg</a:t>
            </a:r>
            <a:r>
              <a:rPr kumimoji="1" lang="zh-CN" altLang="zh-CN">
                <a:sym typeface="+mn-ea"/>
              </a:rPr>
              <a:t>性能工具全图</a:t>
            </a:r>
            <a:endParaRPr kumimoji="1"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82115" y="1087120"/>
            <a:ext cx="8050530" cy="563435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PF -</a:t>
            </a:r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打通用户态与内核态的机制</a:t>
            </a:r>
            <a:endParaRPr kumimoji="1"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72460" y="1353820"/>
            <a:ext cx="4889500" cy="437642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为什么用</a:t>
            </a:r>
            <a:r>
              <a:rPr lang="en-US" altLang="zh-CN"/>
              <a:t>BPF</a:t>
            </a:r>
            <a:r>
              <a:rPr lang="zh-CN" altLang="en-US"/>
              <a:t>技术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4380" y="1220470"/>
            <a:ext cx="10133330" cy="512381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/>
              <a:t>用</a:t>
            </a:r>
            <a:r>
              <a:rPr lang="en-US" altLang="zh-CN"/>
              <a:t>BPF</a:t>
            </a:r>
            <a:r>
              <a:rPr lang="zh-CN" altLang="en-US"/>
              <a:t>观测内核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64590" y="1165225"/>
            <a:ext cx="8000365" cy="507555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PF</a:t>
            </a:r>
            <a:r>
              <a:rPr lang="zh-CN" altLang="en-US"/>
              <a:t>相关的开源项目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640" y="1628775"/>
            <a:ext cx="9144000" cy="360045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ISLIDE.THEME" val="https://www.islide.cc;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3"/>
  <p:tag name="KSO_WM_UNIT_ID" val="diagram20178812_2*m_h_i*1_2_3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4_1"/>
  <p:tag name="KSO_WM_UNIT_ID" val="diagram20178812_2*m_h_i*1_4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5"/>
  <p:tag name="KSO_WM_UNIT_LINE_FILL_TYPE" val="2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4_2"/>
  <p:tag name="KSO_WM_UNIT_ID" val="diagram20178812_2*m_h_i*1_4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13.xml><?xml version="1.0" encoding="utf-8"?>
<p:tagLst xmlns:p="http://schemas.openxmlformats.org/presentationml/2006/main">
  <p:tag name="KSO_WM_UNIT_VALUE" val="82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4_1"/>
  <p:tag name="KSO_WM_UNIT_ID" val="diagram20178812_2*m_h_x*1_4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4.xml><?xml version="1.0" encoding="utf-8"?>
<p:tagLst xmlns:p="http://schemas.openxmlformats.org/presentationml/2006/main">
  <p:tag name="KSO_WM_UNIT_VALUE" val="92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3_1"/>
  <p:tag name="KSO_WM_UNIT_ID" val="diagram20178812_2*m_h_x*1_3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5.xml><?xml version="1.0" encoding="utf-8"?>
<p:tagLst xmlns:p="http://schemas.openxmlformats.org/presentationml/2006/main">
  <p:tag name="KSO_WM_UNIT_VALUE" val="96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2_1"/>
  <p:tag name="KSO_WM_UNIT_ID" val="diagram20178812_2*m_h_x*1_2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6.xml><?xml version="1.0" encoding="utf-8"?>
<p:tagLst xmlns:p="http://schemas.openxmlformats.org/presentationml/2006/main">
  <p:tag name="KSO_WM_UNIT_VALUE" val="82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1_1"/>
  <p:tag name="KSO_WM_UNIT_ID" val="diagram20178812_2*m_h_x*1_1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17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1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1_1"/>
  <p:tag name="KSO_WM_UNIT_DIAGRAM_ISNUMVISUAL" val="0"/>
  <p:tag name="KSO_WM_UNIT_DIAGRAM_ISREFERUNIT" val="0"/>
  <p:tag name="KSO_WM_UNIT_FILL_FORE_SCHEMECOLOR_INDEX" val="5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18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2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2_1"/>
  <p:tag name="KSO_WM_UNIT_DIAGRAM_ISNUMVISUAL" val="0"/>
  <p:tag name="KSO_WM_UNIT_DIAGRAM_ISREFERUNIT" val="0"/>
  <p:tag name="KSO_WM_UNIT_FILL_FORE_SCHEMECOLOR_INDEX" val="6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19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3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3_1"/>
  <p:tag name="KSO_WM_UNIT_DIAGRAM_ISNUMVISUAL" val="0"/>
  <p:tag name="KSO_WM_UNIT_DIAGRAM_ISREFERUNIT" val="0"/>
  <p:tag name="KSO_WM_UNIT_FILL_FORE_SCHEMECOLOR_INDEX" val="5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1"/>
  <p:tag name="KSO_WM_UNIT_ID" val="diagram20178812_2*m_h_i*1_1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8"/>
  <p:tag name="KSO_WM_UNIT_LINE_FILL_TYPE" val="2"/>
</p:tagLst>
</file>

<file path=ppt/tags/tag20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4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4_1"/>
  <p:tag name="KSO_WM_UNIT_DIAGRAM_ISNUMVISUAL" val="0"/>
  <p:tag name="KSO_WM_UNIT_DIAGRAM_ISREFERUNIT" val="0"/>
  <p:tag name="KSO_WM_UNIT_FILL_FORE_SCHEMECOLOR_INDEX" val="6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21.xml><?xml version="1.0" encoding="utf-8"?>
<p:tagLst xmlns:p="http://schemas.openxmlformats.org/presentationml/2006/main">
  <p:tag name="ISLIDE.THEME" val="https://www.islide.cc;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i"/>
  <p:tag name="KSO_WM_UNIT_INDEX" val="1_1"/>
  <p:tag name="KSO_WM_UNIT_ID" val="diagram20178812_2*m_i*1_1"/>
  <p:tag name="KSO_WM_TEMPLATE_CATEGORY" val="diagram"/>
  <p:tag name="KSO_WM_TEMPLATE_INDEX" val="20178812"/>
  <p:tag name="KSO_WM_UNIT_LAYERLEVEL" val="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2"/>
  <p:tag name="KSO_WM_UNIT_TEXT_FILL_TYPE" val="1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1"/>
  <p:tag name="KSO_WM_UNIT_ID" val="diagram20178812_2*m_h_i*1_1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8"/>
  <p:tag name="KSO_WM_UNIT_LINE_FILL_TYPE" val="2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2"/>
  <p:tag name="KSO_WM_UNIT_ID" val="diagram20178812_2*m_h_i*1_1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2"/>
  <p:tag name="KSO_WM_UNIT_TEXT_FILL_TYPE" val="1"/>
</p:tagLst>
</file>

<file path=ppt/tags/tag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3"/>
  <p:tag name="KSO_WM_UNIT_ID" val="diagram20178812_2*m_h_i*1_1_3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2"/>
  <p:tag name="KSO_WM_UNIT_TEXT_FILL_TYPE" val="1"/>
</p:tagLst>
</file>

<file path=ppt/tags/tag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1"/>
  <p:tag name="KSO_WM_UNIT_ID" val="diagram20178812_2*m_h_i*1_3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3"/>
  <p:tag name="KSO_WM_UNIT_ID" val="diagram20178812_2*m_h_i*1_3_3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2"/>
  <p:tag name="KSO_WM_UNIT_ID" val="diagram20178812_2*m_h_i*1_3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1"/>
  <p:tag name="KSO_WM_UNIT_ID" val="diagram20178812_2*m_h_i*1_2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7"/>
  <p:tag name="KSO_WM_UNIT_LINE_FILL_TYPE" val="2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2"/>
  <p:tag name="KSO_WM_UNIT_ID" val="diagram20178812_2*m_h_i*1_1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2"/>
  <p:tag name="KSO_WM_UNIT_TEXT_FILL_TYPE" val="1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2"/>
  <p:tag name="KSO_WM_UNIT_ID" val="diagram20178812_2*m_h_i*1_2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3"/>
  <p:tag name="KSO_WM_UNIT_ID" val="diagram20178812_2*m_h_i*1_2_3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ags/tag3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4_1"/>
  <p:tag name="KSO_WM_UNIT_ID" val="diagram20178812_2*m_h_i*1_4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5"/>
  <p:tag name="KSO_WM_UNIT_LINE_FILL_TYPE" val="2"/>
</p:tagLst>
</file>

<file path=ppt/tags/tag3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4_2"/>
  <p:tag name="KSO_WM_UNIT_ID" val="diagram20178812_2*m_h_i*1_4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34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1_1"/>
  <p:tag name="KSO_WM_UNIT_ID" val="diagram20178812_2*m_h_a*1_1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PRESET_TEXT" val="添加标题"/>
</p:tagLst>
</file>

<file path=ppt/tags/tag35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2_1"/>
  <p:tag name="KSO_WM_UNIT_ID" val="diagram20178812_2*m_h_a*1_2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PRESET_TEXT" val="添加标题"/>
</p:tagLst>
</file>

<file path=ppt/tags/tag36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3_1"/>
  <p:tag name="KSO_WM_UNIT_ID" val="diagram20178812_2*m_h_a*1_3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PRESET_TEXT" val="添加标题"/>
</p:tagLst>
</file>

<file path=ppt/tags/tag37.xml><?xml version="1.0" encoding="utf-8"?>
<p:tagLst xmlns:p="http://schemas.openxmlformats.org/presentationml/2006/main">
  <p:tag name="KSO_WM_UNIT_VALUE" val="82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4_1"/>
  <p:tag name="KSO_WM_UNIT_ID" val="diagram20178812_2*m_h_x*1_4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38.xml><?xml version="1.0" encoding="utf-8"?>
<p:tagLst xmlns:p="http://schemas.openxmlformats.org/presentationml/2006/main">
  <p:tag name="KSO_WM_UNIT_VALUE" val="92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3_1"/>
  <p:tag name="KSO_WM_UNIT_ID" val="diagram20178812_2*m_h_x*1_3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39.xml><?xml version="1.0" encoding="utf-8"?>
<p:tagLst xmlns:p="http://schemas.openxmlformats.org/presentationml/2006/main">
  <p:tag name="KSO_WM_UNIT_VALUE" val="96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2_1"/>
  <p:tag name="KSO_WM_UNIT_ID" val="diagram20178812_2*m_h_x*1_2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1_3"/>
  <p:tag name="KSO_WM_UNIT_ID" val="diagram20178812_2*m_h_i*1_1_3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2"/>
  <p:tag name="KSO_WM_UNIT_TEXT_FILL_TYPE" val="1"/>
</p:tagLst>
</file>

<file path=ppt/tags/tag40.xml><?xml version="1.0" encoding="utf-8"?>
<p:tagLst xmlns:p="http://schemas.openxmlformats.org/presentationml/2006/main">
  <p:tag name="KSO_WM_UNIT_VALUE" val="82*82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x"/>
  <p:tag name="KSO_WM_UNIT_INDEX" val="1_1_1"/>
  <p:tag name="KSO_WM_UNIT_ID" val="diagram20178812_2*m_h_x*1_1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41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1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1_1"/>
  <p:tag name="KSO_WM_UNIT_DIAGRAM_ISNUMVISUAL" val="0"/>
  <p:tag name="KSO_WM_UNIT_DIAGRAM_ISREFERUNIT" val="0"/>
  <p:tag name="KSO_WM_UNIT_FILL_FORE_SCHEMECOLOR_INDEX" val="5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42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2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2_1"/>
  <p:tag name="KSO_WM_UNIT_DIAGRAM_ISNUMVISUAL" val="0"/>
  <p:tag name="KSO_WM_UNIT_DIAGRAM_ISREFERUNIT" val="0"/>
  <p:tag name="KSO_WM_UNIT_FILL_FORE_SCHEMECOLOR_INDEX" val="6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43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3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3_1"/>
  <p:tag name="KSO_WM_UNIT_DIAGRAM_ISNUMVISUAL" val="0"/>
  <p:tag name="KSO_WM_UNIT_DIAGRAM_ISREFERUNIT" val="0"/>
  <p:tag name="KSO_WM_UNIT_FILL_FORE_SCHEMECOLOR_INDEX" val="5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44.xml><?xml version="1.0" encoding="utf-8"?>
<p:tagLst xmlns:p="http://schemas.openxmlformats.org/presentationml/2006/main">
  <p:tag name="KSO_WM_TEMPLATE_CATEGORY" val="diagram"/>
  <p:tag name="KSO_WM_TEMPLATE_INDEX" val="20187744"/>
  <p:tag name="KSO_WM_UNIT_ID" val="diagram20187744_4*m_h_i*1_4_1"/>
  <p:tag name="KSO_WM_UNIT_LAYERLEVEL" val="1_1_1"/>
  <p:tag name="KSO_WM_BEAUTIFY_FLAG" val="#wm#"/>
  <p:tag name="KSO_WM_TAG_VERSION" val="1.0"/>
  <p:tag name="KSO_WM_UNIT_HIGHLIGHT" val="0"/>
  <p:tag name="KSO_WM_UNIT_COMPATIBLE" val="0"/>
  <p:tag name="KSO_WM_DIAGRAM_GROUP_CODE" val="m1-1"/>
  <p:tag name="KSO_WM_UNIT_TYPE" val="m_h_i"/>
  <p:tag name="KSO_WM_UNIT_INDEX" val="1_4_1"/>
  <p:tag name="KSO_WM_UNIT_DIAGRAM_ISNUMVISUAL" val="0"/>
  <p:tag name="KSO_WM_UNIT_DIAGRAM_ISREFERUNIT" val="0"/>
  <p:tag name="KSO_WM_UNIT_FILL_FORE_SCHEMECOLOR_INDEX" val="6"/>
  <p:tag name="KSO_WM_UNIT_FILL_TYPE" val="1"/>
  <p:tag name="KSO_WM_UNIT_SHADOW_SCHEMECOLOR_INDEX" val="13"/>
  <p:tag name="KSO_WM_UNIT_TEXT_FILL_FORE_SCHEMECOLOR_INDEX" val="13"/>
  <p:tag name="KSO_WM_UNIT_TEXT_FILL_TYPE" val="1"/>
</p:tagLst>
</file>

<file path=ppt/tags/tag45.xml><?xml version="1.0" encoding="utf-8"?>
<p:tagLst xmlns:p="http://schemas.openxmlformats.org/presentationml/2006/main">
  <p:tag name="KSO_WM_UNIT_ISCONTENTS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a"/>
  <p:tag name="KSO_WM_UNIT_INDEX" val="1_3_1"/>
  <p:tag name="KSO_WM_UNIT_ID" val="diagram20178812_2*m_h_a*1_3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PRESET_TEXT" val="添加标题"/>
</p:tagLst>
</file>

<file path=ppt/tags/tag46.xml><?xml version="1.0" encoding="utf-8"?>
<p:tagLst xmlns:p="http://schemas.openxmlformats.org/presentationml/2006/main">
  <p:tag name="ISLIDE.THEME" val="https://www.islide.cc;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1"/>
  <p:tag name="KSO_WM_UNIT_ID" val="diagram20178812_2*m_h_i*1_3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3"/>
  <p:tag name="KSO_WM_UNIT_ID" val="diagram20178812_2*m_h_i*1_3_3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3_2"/>
  <p:tag name="KSO_WM_UNIT_ID" val="diagram20178812_2*m_h_i*1_3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1"/>
  <p:tag name="KSO_WM_UNIT_ID" val="diagram20178812_2*m_h_i*1_2_1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LINE_FORE_SCHEMECOLOR_INDEX" val="7"/>
  <p:tag name="KSO_WM_UNIT_LINE_FILL_TYPE" val="2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m1-1"/>
  <p:tag name="KSO_WM_UNIT_TYPE" val="m_h_i"/>
  <p:tag name="KSO_WM_UNIT_INDEX" val="1_2_2"/>
  <p:tag name="KSO_WM_UNIT_ID" val="diagram20178812_2*m_h_i*1_2_2"/>
  <p:tag name="KSO_WM_TEMPLATE_CATEGORY" val="diagram"/>
  <p:tag name="KSO_WM_TEMPLATE_INDEX" val="20178812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2"/>
  <p:tag name="KSO_WM_UNIT_TEXT_FILL_TYPE" val="1"/>
</p:tagLst>
</file>

<file path=ppt/theme/theme1.xml><?xml version="1.0" encoding="utf-8"?>
<a:theme xmlns:a="http://schemas.openxmlformats.org/drawingml/2006/main" name="主题5">
  <a:themeElements>
    <a:clrScheme name="自定义 16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371C7"/>
      </a:accent1>
      <a:accent2>
        <a:srgbClr val="090265"/>
      </a:accent2>
      <a:accent3>
        <a:srgbClr val="4B4BFF"/>
      </a:accent3>
      <a:accent4>
        <a:srgbClr val="FA30F0"/>
      </a:accent4>
      <a:accent5>
        <a:srgbClr val="FF0F80"/>
      </a:accent5>
      <a:accent6>
        <a:srgbClr val="FF92C5"/>
      </a:accent6>
      <a:hlink>
        <a:srgbClr val="18D8F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6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371C7"/>
      </a:accent1>
      <a:accent2>
        <a:srgbClr val="090265"/>
      </a:accent2>
      <a:accent3>
        <a:srgbClr val="4B4BFF"/>
      </a:accent3>
      <a:accent4>
        <a:srgbClr val="FA30F0"/>
      </a:accent4>
      <a:accent5>
        <a:srgbClr val="FF0F80"/>
      </a:accent5>
      <a:accent6>
        <a:srgbClr val="FF92C5"/>
      </a:accent6>
      <a:hlink>
        <a:srgbClr val="18D8F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970</Words>
  <Application>WPS 演示</Application>
  <PresentationFormat>宽屏</PresentationFormat>
  <Paragraphs>162</Paragraphs>
  <Slides>24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8" baseType="lpstr">
      <vt:lpstr>Arial</vt:lpstr>
      <vt:lpstr>宋体</vt:lpstr>
      <vt:lpstr>Wingdings</vt:lpstr>
      <vt:lpstr>微软雅黑</vt:lpstr>
      <vt:lpstr>思源黑体 CN Normal</vt:lpstr>
      <vt:lpstr>Arial Unicode MS</vt:lpstr>
      <vt:lpstr>Calibri</vt:lpstr>
      <vt:lpstr>Calibri Light</vt:lpstr>
      <vt:lpstr>方正宋刻本秀楷简体</vt:lpstr>
      <vt:lpstr>华文细黑</vt:lpstr>
      <vt:lpstr>黑体</vt:lpstr>
      <vt:lpstr>主题5</vt:lpstr>
      <vt:lpstr>1_主题5</vt:lpstr>
      <vt:lpstr>TCLayout.ActiveDocument.1</vt:lpstr>
      <vt:lpstr>基于BPF的系统性能优化</vt:lpstr>
      <vt:lpstr>什么是性能优化？-时间</vt:lpstr>
      <vt:lpstr>性能优化层次</vt:lpstr>
      <vt:lpstr>性能优化图谱</vt:lpstr>
      <vt:lpstr>系统性能专家 Brendan Gregg性能工具全图</vt:lpstr>
      <vt:lpstr>BPF -打通用户态与内核态的机制</vt:lpstr>
      <vt:lpstr>为什么用BPF技术</vt:lpstr>
      <vt:lpstr>用BPF观测内核</vt:lpstr>
      <vt:lpstr>BPF相关的开源项目</vt:lpstr>
      <vt:lpstr>基于BPF的显微镜开源项目（LMP）</vt:lpstr>
      <vt:lpstr>Linux系统性能监控可视化工具</vt:lpstr>
      <vt:lpstr>BPF技术直播</vt:lpstr>
      <vt:lpstr>BPF技术直播</vt:lpstr>
      <vt:lpstr>PowerPoint 演示文稿</vt:lpstr>
      <vt:lpstr>内存性能指标</vt:lpstr>
      <vt:lpstr>BPF应用介绍</vt:lpstr>
      <vt:lpstr>缺页异常处理的逻辑意义</vt:lpstr>
      <vt:lpstr>Linux内核缺页异常处理过程</vt:lpstr>
      <vt:lpstr>监控NUMA Balancing</vt:lpstr>
      <vt:lpstr>eBPF应用举例</vt:lpstr>
      <vt:lpstr>BPF监控程序运行结果</vt:lpstr>
      <vt:lpstr>Linux内核之旅社区（http://www.kerneltravel.net/）</vt:lpstr>
      <vt:lpstr>总     结</vt:lpstr>
      <vt:lpstr>PowerPoint 演示文稿</vt:lpstr>
    </vt:vector>
  </TitlesOfParts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mmer2021 PowerPoint Standard Template</dc:title>
  <dc:creator>cc</dc:creator>
  <cp:lastModifiedBy>陈莉君</cp:lastModifiedBy>
  <cp:revision>39</cp:revision>
  <cp:lastPrinted>2020-11-19T16:00:00Z</cp:lastPrinted>
  <dcterms:created xsi:type="dcterms:W3CDTF">2021-04-22T01:58:00Z</dcterms:created>
  <dcterms:modified xsi:type="dcterms:W3CDTF">2021-08-08T03:3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68</vt:lpwstr>
  </property>
</Properties>
</file>